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6" r:id="rId4"/>
    <p:sldMasterId id="2147483743" r:id="rId5"/>
    <p:sldMasterId id="2147483764" r:id="rId6"/>
  </p:sldMasterIdLst>
  <p:notesMasterIdLst>
    <p:notesMasterId r:id="rId14"/>
  </p:notesMasterIdLst>
  <p:handoutMasterIdLst>
    <p:handoutMasterId r:id="rId15"/>
  </p:handoutMasterIdLst>
  <p:sldIdLst>
    <p:sldId id="356" r:id="rId7"/>
    <p:sldId id="357" r:id="rId8"/>
    <p:sldId id="2076137779" r:id="rId9"/>
    <p:sldId id="2076137775" r:id="rId10"/>
    <p:sldId id="2076137776" r:id="rId11"/>
    <p:sldId id="2076137777" r:id="rId12"/>
    <p:sldId id="2076137778" r:id="rId13"/>
  </p:sldIdLst>
  <p:sldSz cx="12192000" cy="6858000"/>
  <p:notesSz cx="10972800" cy="617855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Work Sans" panose="020B0604020202020204" charset="0"/>
      <p:regular r:id="rId20"/>
      <p:bold r:id="rId21"/>
      <p:italic r:id="rId22"/>
      <p:boldItalic r:id="rId23"/>
    </p:embeddedFont>
    <p:embeddedFont>
      <p:font typeface="Work Sans SemiBold" panose="020B0604020202020204" charset="0"/>
      <p:bold r:id="rId24"/>
      <p:boldItalic r:id="rId25"/>
    </p:embeddedFont>
  </p:embeddedFontLst>
  <p:defaultTextStyle>
    <a:defPPr>
      <a:defRPr lang="en-US"/>
    </a:defPPr>
    <a:lvl1pPr marL="0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1pPr>
    <a:lvl2pPr marL="507766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2pPr>
    <a:lvl3pPr marL="1015533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3pPr>
    <a:lvl4pPr marL="1523299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4pPr>
    <a:lvl5pPr marL="2031065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5pPr>
    <a:lvl6pPr marL="2538832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6pPr>
    <a:lvl7pPr marL="3046598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7pPr>
    <a:lvl8pPr marL="3554364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8pPr>
    <a:lvl9pPr marL="4062131" algn="l" defTabSz="1015533" rtl="0" eaLnBrk="1" latinLnBrk="0" hangingPunct="1">
      <a:defRPr sz="19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" id="{A354471E-55D6-4FBD-8D3D-96FE5C0AEE04}">
          <p14:sldIdLst>
            <p14:sldId id="356"/>
            <p14:sldId id="357"/>
            <p14:sldId id="2076137779"/>
            <p14:sldId id="2076137775"/>
            <p14:sldId id="2076137776"/>
            <p14:sldId id="2076137777"/>
            <p14:sldId id="20761377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97" userDrawn="1">
          <p15:clr>
            <a:srgbClr val="A4A3A4"/>
          </p15:clr>
        </p15:guide>
        <p15:guide id="2" pos="24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Person" initials="DP" lastIdx="14" clrIdx="0">
    <p:extLst>
      <p:ext uri="{19B8F6BF-5375-455C-9EA6-DF929625EA0E}">
        <p15:presenceInfo xmlns:p15="http://schemas.microsoft.com/office/powerpoint/2012/main" userId="S::daniel.person@ICERTIS.COM::a6e8ee14-5896-4d20-9b8a-b25e0bbdecf3" providerId="AD"/>
      </p:ext>
    </p:extLst>
  </p:cmAuthor>
  <p:cmAuthor id="2" name="Matt Ford" initials="MF" lastIdx="6" clrIdx="1">
    <p:extLst>
      <p:ext uri="{19B8F6BF-5375-455C-9EA6-DF929625EA0E}">
        <p15:presenceInfo xmlns:p15="http://schemas.microsoft.com/office/powerpoint/2012/main" userId="S::matthew.ford@ICERTIS.COM::049638fd-0cf8-4cae-9e22-5c99a17dcfae" providerId="AD"/>
      </p:ext>
    </p:extLst>
  </p:cmAuthor>
  <p:cmAuthor id="3" name="Aidan Jones" initials="AJ" lastIdx="1" clrIdx="2">
    <p:extLst>
      <p:ext uri="{19B8F6BF-5375-455C-9EA6-DF929625EA0E}">
        <p15:presenceInfo xmlns:p15="http://schemas.microsoft.com/office/powerpoint/2012/main" userId="S::i-aidan.jones@icertis.com::70f2a6a5-1c41-4b71-ae7b-fbb08d0ba110" providerId="AD"/>
      </p:ext>
    </p:extLst>
  </p:cmAuthor>
  <p:cmAuthor id="4" name="Madeline Huber" initials="MH" lastIdx="13" clrIdx="3">
    <p:extLst>
      <p:ext uri="{19B8F6BF-5375-455C-9EA6-DF929625EA0E}">
        <p15:presenceInfo xmlns:p15="http://schemas.microsoft.com/office/powerpoint/2012/main" userId="S::madeline.huber@wppdigital.onmicrosoft.com::aa067a08-51ea-4eb9-bca1-028a016f17eb" providerId="AD"/>
      </p:ext>
    </p:extLst>
  </p:cmAuthor>
  <p:cmAuthor id="5" name="Janelle Langler" initials="JL" lastIdx="49" clrIdx="4">
    <p:extLst>
      <p:ext uri="{19B8F6BF-5375-455C-9EA6-DF929625EA0E}">
        <p15:presenceInfo xmlns:p15="http://schemas.microsoft.com/office/powerpoint/2012/main" userId="S::janelle.langler@yaleandolive.com::2698e050-e0ef-4512-8bc7-9ee5af5a24f7" providerId="AD"/>
      </p:ext>
    </p:extLst>
  </p:cmAuthor>
  <p:cmAuthor id="6" name="Chris Garcés" initials="CG" lastIdx="8" clrIdx="5">
    <p:extLst>
      <p:ext uri="{19B8F6BF-5375-455C-9EA6-DF929625EA0E}">
        <p15:presenceInfo xmlns:p15="http://schemas.microsoft.com/office/powerpoint/2012/main" userId="S::Chris.Garces@POSSIBLE.com::15388cee-a958-4860-84d8-b973b953eb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34B6"/>
    <a:srgbClr val="7B2A97"/>
    <a:srgbClr val="6924C4"/>
    <a:srgbClr val="9128C0"/>
    <a:srgbClr val="3228BF"/>
    <a:srgbClr val="F2F2F2"/>
    <a:srgbClr val="2454C9"/>
    <a:srgbClr val="293DC2"/>
    <a:srgbClr val="159ADF"/>
    <a:srgbClr val="4040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C3DAD2-6BA2-4FAA-ADA6-1098B69C330A}" v="1149" dt="2022-05-05T05:33:58.980"/>
    <p1510:client id="{F07E51E5-A629-F2ED-3A32-BE12FD348DFD}" v="1" dt="2022-05-05T05:14:36.616"/>
    <p1510:client id="{F2887B5B-0404-4F05-AC00-9458C1B5433C}" v="66" dt="2022-05-05T05:20:29.758"/>
  </p1510:revLst>
</p1510:revInfo>
</file>

<file path=ppt/tableStyles.xml><?xml version="1.0" encoding="utf-8"?>
<a:tblStyleLst xmlns:a="http://schemas.openxmlformats.org/drawingml/2006/main" def="{6E25E649-3F16-4E02-A733-19D2CDBF48F0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197"/>
        <p:guide pos="240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3.fntdata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9.fntdata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font" Target="fonts/font4.fntdata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bhijeet Haval" userId="517cbe5a-8fbb-4f81-929d-8ffd947ac0ac" providerId="ADAL" clId="{85C3DAD2-6BA2-4FAA-ADA6-1098B69C330A}"/>
    <pc:docChg chg="undo custSel addSld modSld modSection">
      <pc:chgData name="Abhijeet Haval" userId="517cbe5a-8fbb-4f81-929d-8ffd947ac0ac" providerId="ADAL" clId="{85C3DAD2-6BA2-4FAA-ADA6-1098B69C330A}" dt="2022-05-05T05:33:58.980" v="2590" actId="14100"/>
      <pc:docMkLst>
        <pc:docMk/>
      </pc:docMkLst>
      <pc:sldChg chg="modSp mod">
        <pc:chgData name="Abhijeet Haval" userId="517cbe5a-8fbb-4f81-929d-8ffd947ac0ac" providerId="ADAL" clId="{85C3DAD2-6BA2-4FAA-ADA6-1098B69C330A}" dt="2022-05-05T05:20:26.476" v="2548" actId="20577"/>
        <pc:sldMkLst>
          <pc:docMk/>
          <pc:sldMk cId="1426057603" sldId="357"/>
        </pc:sldMkLst>
        <pc:graphicFrameChg chg="mod modGraphic">
          <ac:chgData name="Abhijeet Haval" userId="517cbe5a-8fbb-4f81-929d-8ffd947ac0ac" providerId="ADAL" clId="{85C3DAD2-6BA2-4FAA-ADA6-1098B69C330A}" dt="2022-05-05T05:20:26.476" v="2548" actId="20577"/>
          <ac:graphicFrameMkLst>
            <pc:docMk/>
            <pc:sldMk cId="1426057603" sldId="357"/>
            <ac:graphicFrameMk id="9" creationId="{56A8B318-7C74-4DEB-8814-00EF0FEEE14F}"/>
          </ac:graphicFrameMkLst>
        </pc:graphicFrameChg>
      </pc:sldChg>
      <pc:sldChg chg="modSp mod">
        <pc:chgData name="Abhijeet Haval" userId="517cbe5a-8fbb-4f81-929d-8ffd947ac0ac" providerId="ADAL" clId="{85C3DAD2-6BA2-4FAA-ADA6-1098B69C330A}" dt="2022-05-05T05:15:11.895" v="2387" actId="14100"/>
        <pc:sldMkLst>
          <pc:docMk/>
          <pc:sldMk cId="171494978" sldId="2076137775"/>
        </pc:sldMkLst>
        <pc:spChg chg="mod">
          <ac:chgData name="Abhijeet Haval" userId="517cbe5a-8fbb-4f81-929d-8ffd947ac0ac" providerId="ADAL" clId="{85C3DAD2-6BA2-4FAA-ADA6-1098B69C330A}" dt="2022-05-05T05:15:11.895" v="2387" actId="14100"/>
          <ac:spMkLst>
            <pc:docMk/>
            <pc:sldMk cId="171494978" sldId="2076137775"/>
            <ac:spMk id="4" creationId="{955AC463-AA11-4C3D-BCA9-239BC7B615A4}"/>
          </ac:spMkLst>
        </pc:spChg>
        <pc:spChg chg="mod">
          <ac:chgData name="Abhijeet Haval" userId="517cbe5a-8fbb-4f81-929d-8ffd947ac0ac" providerId="ADAL" clId="{85C3DAD2-6BA2-4FAA-ADA6-1098B69C330A}" dt="2022-05-05T05:15:02.068" v="2380" actId="20577"/>
          <ac:spMkLst>
            <pc:docMk/>
            <pc:sldMk cId="171494978" sldId="2076137775"/>
            <ac:spMk id="17" creationId="{66230D6D-A107-4986-AE19-6BD5F9E354D3}"/>
          </ac:spMkLst>
        </pc:spChg>
      </pc:sldChg>
      <pc:sldChg chg="addSp delSp modSp mod">
        <pc:chgData name="Abhijeet Haval" userId="517cbe5a-8fbb-4f81-929d-8ffd947ac0ac" providerId="ADAL" clId="{85C3DAD2-6BA2-4FAA-ADA6-1098B69C330A}" dt="2022-05-05T05:33:58.980" v="2590" actId="14100"/>
        <pc:sldMkLst>
          <pc:docMk/>
          <pc:sldMk cId="3094373073" sldId="2076137776"/>
        </pc:sldMkLst>
        <pc:spChg chg="mod">
          <ac:chgData name="Abhijeet Haval" userId="517cbe5a-8fbb-4f81-929d-8ffd947ac0ac" providerId="ADAL" clId="{85C3DAD2-6BA2-4FAA-ADA6-1098B69C330A}" dt="2022-05-04T12:01:19.194" v="815" actId="20577"/>
          <ac:spMkLst>
            <pc:docMk/>
            <pc:sldMk cId="3094373073" sldId="2076137776"/>
            <ac:spMk id="2" creationId="{65BCFB8B-A776-4AB1-B0DE-633BFA1717B7}"/>
          </ac:spMkLst>
        </pc:spChg>
        <pc:spChg chg="del">
          <ac:chgData name="Abhijeet Haval" userId="517cbe5a-8fbb-4f81-929d-8ffd947ac0ac" providerId="ADAL" clId="{85C3DAD2-6BA2-4FAA-ADA6-1098B69C330A}" dt="2022-05-04T10:15:51.796" v="0" actId="478"/>
          <ac:spMkLst>
            <pc:docMk/>
            <pc:sldMk cId="3094373073" sldId="2076137776"/>
            <ac:spMk id="3" creationId="{9FDB58AB-DE79-41DD-9964-AD03CBE44169}"/>
          </ac:spMkLst>
        </pc:spChg>
        <pc:spChg chg="add mod">
          <ac:chgData name="Abhijeet Haval" userId="517cbe5a-8fbb-4f81-929d-8ffd947ac0ac" providerId="ADAL" clId="{85C3DAD2-6BA2-4FAA-ADA6-1098B69C330A}" dt="2022-05-05T05:15:50.365" v="2388" actId="14100"/>
          <ac:spMkLst>
            <pc:docMk/>
            <pc:sldMk cId="3094373073" sldId="2076137776"/>
            <ac:spMk id="3" creationId="{EA65BCD1-CCC8-BE57-C8C1-2B9D52289853}"/>
          </ac:spMkLst>
        </pc:spChg>
        <pc:spChg chg="add mod">
          <ac:chgData name="Abhijeet Haval" userId="517cbe5a-8fbb-4f81-929d-8ffd947ac0ac" providerId="ADAL" clId="{85C3DAD2-6BA2-4FAA-ADA6-1098B69C330A}" dt="2022-05-04T10:54:15.005" v="146" actId="1076"/>
          <ac:spMkLst>
            <pc:docMk/>
            <pc:sldMk cId="3094373073" sldId="2076137776"/>
            <ac:spMk id="6" creationId="{FCDEBA3D-FFBA-2687-547D-5351DF33245F}"/>
          </ac:spMkLst>
        </pc:spChg>
        <pc:spChg chg="add mod">
          <ac:chgData name="Abhijeet Haval" userId="517cbe5a-8fbb-4f81-929d-8ffd947ac0ac" providerId="ADAL" clId="{85C3DAD2-6BA2-4FAA-ADA6-1098B69C330A}" dt="2022-05-04T12:00:44.742" v="793" actId="255"/>
          <ac:spMkLst>
            <pc:docMk/>
            <pc:sldMk cId="3094373073" sldId="2076137776"/>
            <ac:spMk id="7" creationId="{07E08DE4-9EB4-07DF-F054-88FBACFBD441}"/>
          </ac:spMkLst>
        </pc:spChg>
        <pc:spChg chg="add del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8" creationId="{633B83B1-EB0D-AC3A-734F-B89AE18B8B24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9" creationId="{0455864A-4F4E-FEEA-8424-C7EE0731FFE5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10" creationId="{B7214BB6-6991-4BC3-40C3-FB5F18F62DD9}"/>
          </ac:spMkLst>
        </pc:spChg>
        <pc:spChg chg="add del mod">
          <ac:chgData name="Abhijeet Haval" userId="517cbe5a-8fbb-4f81-929d-8ffd947ac0ac" providerId="ADAL" clId="{85C3DAD2-6BA2-4FAA-ADA6-1098B69C330A}" dt="2022-05-05T05:33:25.254" v="2585" actId="478"/>
          <ac:spMkLst>
            <pc:docMk/>
            <pc:sldMk cId="3094373073" sldId="2076137776"/>
            <ac:spMk id="11" creationId="{8021663A-3616-19E1-F525-440A08DD1E40}"/>
          </ac:spMkLst>
        </pc:spChg>
        <pc:spChg chg="add del mod">
          <ac:chgData name="Abhijeet Haval" userId="517cbe5a-8fbb-4f81-929d-8ffd947ac0ac" providerId="ADAL" clId="{85C3DAD2-6BA2-4FAA-ADA6-1098B69C330A}" dt="2022-05-05T05:16:42.144" v="2410"/>
          <ac:spMkLst>
            <pc:docMk/>
            <pc:sldMk cId="3094373073" sldId="2076137776"/>
            <ac:spMk id="12" creationId="{19977E67-A60E-8254-A7CC-70864C036596}"/>
          </ac:spMkLst>
        </pc:spChg>
        <pc:spChg chg="add mod">
          <ac:chgData name="Abhijeet Haval" userId="517cbe5a-8fbb-4f81-929d-8ffd947ac0ac" providerId="ADAL" clId="{85C3DAD2-6BA2-4FAA-ADA6-1098B69C330A}" dt="2022-05-05T05:22:42.014" v="2561" actId="20577"/>
          <ac:spMkLst>
            <pc:docMk/>
            <pc:sldMk cId="3094373073" sldId="2076137776"/>
            <ac:spMk id="15" creationId="{CDCFC683-F809-0F7D-B9F5-5EA8A79D38B7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17" creationId="{9C6A883F-EE17-4ECC-1B94-C0C1B57283A9}"/>
          </ac:spMkLst>
        </pc:spChg>
        <pc:spChg chg="add del mod">
          <ac:chgData name="Abhijeet Haval" userId="517cbe5a-8fbb-4f81-929d-8ffd947ac0ac" providerId="ADAL" clId="{85C3DAD2-6BA2-4FAA-ADA6-1098B69C330A}" dt="2022-05-05T05:33:11.088" v="2582" actId="478"/>
          <ac:spMkLst>
            <pc:docMk/>
            <pc:sldMk cId="3094373073" sldId="2076137776"/>
            <ac:spMk id="18" creationId="{5C7ECB86-C123-BD51-EFD5-F948DD88CBD5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20" creationId="{C1F74046-4485-27C0-B569-24548BB9862D}"/>
          </ac:spMkLst>
        </pc:spChg>
        <pc:spChg chg="add del mod">
          <ac:chgData name="Abhijeet Haval" userId="517cbe5a-8fbb-4f81-929d-8ffd947ac0ac" providerId="ADAL" clId="{85C3DAD2-6BA2-4FAA-ADA6-1098B69C330A}" dt="2022-05-04T12:20:21.044" v="1171" actId="478"/>
          <ac:spMkLst>
            <pc:docMk/>
            <pc:sldMk cId="3094373073" sldId="2076137776"/>
            <ac:spMk id="21" creationId="{FDF0AA6E-8424-5F0F-DA02-FE57394093FA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23" creationId="{BE569001-47FE-4E5A-7463-B1C0A5E57F69}"/>
          </ac:spMkLst>
        </pc:spChg>
        <pc:spChg chg="add del mod">
          <ac:chgData name="Abhijeet Haval" userId="517cbe5a-8fbb-4f81-929d-8ffd947ac0ac" providerId="ADAL" clId="{85C3DAD2-6BA2-4FAA-ADA6-1098B69C330A}" dt="2022-05-04T12:20:22.184" v="1172" actId="478"/>
          <ac:spMkLst>
            <pc:docMk/>
            <pc:sldMk cId="3094373073" sldId="2076137776"/>
            <ac:spMk id="24" creationId="{1143FC4C-9ABC-B83C-B2CA-777F0A2961A6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26" creationId="{95A32F84-0D5D-07A4-17CE-8CE671E71147}"/>
          </ac:spMkLst>
        </pc:spChg>
        <pc:spChg chg="add del mod">
          <ac:chgData name="Abhijeet Haval" userId="517cbe5a-8fbb-4f81-929d-8ffd947ac0ac" providerId="ADAL" clId="{85C3DAD2-6BA2-4FAA-ADA6-1098B69C330A}" dt="2022-05-04T12:20:23.228" v="1173" actId="478"/>
          <ac:spMkLst>
            <pc:docMk/>
            <pc:sldMk cId="3094373073" sldId="2076137776"/>
            <ac:spMk id="27" creationId="{08961633-C35F-36C6-AA8D-C82137209B85}"/>
          </ac:spMkLst>
        </pc:spChg>
        <pc:spChg chg="add del mod">
          <ac:chgData name="Abhijeet Haval" userId="517cbe5a-8fbb-4f81-929d-8ffd947ac0ac" providerId="ADAL" clId="{85C3DAD2-6BA2-4FAA-ADA6-1098B69C330A}" dt="2022-05-04T12:19:11.650" v="1160" actId="478"/>
          <ac:spMkLst>
            <pc:docMk/>
            <pc:sldMk cId="3094373073" sldId="2076137776"/>
            <ac:spMk id="29" creationId="{22487D7C-AEAD-654D-EB66-36AA14549A8D}"/>
          </ac:spMkLst>
        </pc:spChg>
        <pc:spChg chg="add del mod">
          <ac:chgData name="Abhijeet Haval" userId="517cbe5a-8fbb-4f81-929d-8ffd947ac0ac" providerId="ADAL" clId="{85C3DAD2-6BA2-4FAA-ADA6-1098B69C330A}" dt="2022-05-04T12:20:29.723" v="1176" actId="478"/>
          <ac:spMkLst>
            <pc:docMk/>
            <pc:sldMk cId="3094373073" sldId="2076137776"/>
            <ac:spMk id="30" creationId="{825ED257-DECE-628C-2C40-C9E35E6C84F5}"/>
          </ac:spMkLst>
        </pc:spChg>
        <pc:spChg chg="add del mod">
          <ac:chgData name="Abhijeet Haval" userId="517cbe5a-8fbb-4f81-929d-8ffd947ac0ac" providerId="ADAL" clId="{85C3DAD2-6BA2-4FAA-ADA6-1098B69C330A}" dt="2022-05-04T12:18:58.590" v="1158" actId="478"/>
          <ac:spMkLst>
            <pc:docMk/>
            <pc:sldMk cId="3094373073" sldId="2076137776"/>
            <ac:spMk id="32" creationId="{E35D59AD-7DDA-F45F-0083-28658F881655}"/>
          </ac:spMkLst>
        </pc:spChg>
        <pc:spChg chg="add del mod">
          <ac:chgData name="Abhijeet Haval" userId="517cbe5a-8fbb-4f81-929d-8ffd947ac0ac" providerId="ADAL" clId="{85C3DAD2-6BA2-4FAA-ADA6-1098B69C330A}" dt="2022-05-04T12:20:32.847" v="1178" actId="478"/>
          <ac:spMkLst>
            <pc:docMk/>
            <pc:sldMk cId="3094373073" sldId="2076137776"/>
            <ac:spMk id="33" creationId="{71653C21-4A42-5B16-2D42-35522A9AAD97}"/>
          </ac:spMkLst>
        </pc:spChg>
        <pc:spChg chg="add del mod">
          <ac:chgData name="Abhijeet Haval" userId="517cbe5a-8fbb-4f81-929d-8ffd947ac0ac" providerId="ADAL" clId="{85C3DAD2-6BA2-4FAA-ADA6-1098B69C330A}" dt="2022-05-04T12:19:03.991" v="1159" actId="478"/>
          <ac:spMkLst>
            <pc:docMk/>
            <pc:sldMk cId="3094373073" sldId="2076137776"/>
            <ac:spMk id="35" creationId="{985E8738-6EC6-FC4D-8CF6-FCE3EF441CF1}"/>
          </ac:spMkLst>
        </pc:spChg>
        <pc:spChg chg="add del mod">
          <ac:chgData name="Abhijeet Haval" userId="517cbe5a-8fbb-4f81-929d-8ffd947ac0ac" providerId="ADAL" clId="{85C3DAD2-6BA2-4FAA-ADA6-1098B69C330A}" dt="2022-05-04T12:20:35.236" v="1179" actId="478"/>
          <ac:spMkLst>
            <pc:docMk/>
            <pc:sldMk cId="3094373073" sldId="2076137776"/>
            <ac:spMk id="36" creationId="{C5CAFC89-58C2-A8A4-9FB3-301BD598B834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38" creationId="{52B8F2AA-D5A4-C620-594C-C32B38ECF336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39" creationId="{325A5556-01CD-EF13-1FF3-9DE583B4022C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40" creationId="{A029A1D3-0649-BAD0-A205-64BEB996D7C5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41" creationId="{C610D6E4-DE8A-98F1-AA5C-D7ECAF61B188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42" creationId="{18CB9164-0972-510B-5F48-7D712C518C06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43" creationId="{BD4A2DE5-E26C-2EA1-CD0F-9CF4F5DD2F8F}"/>
          </ac:spMkLst>
        </pc:spChg>
        <pc:spChg chg="add del mod">
          <ac:chgData name="Abhijeet Haval" userId="517cbe5a-8fbb-4f81-929d-8ffd947ac0ac" providerId="ADAL" clId="{85C3DAD2-6BA2-4FAA-ADA6-1098B69C330A}" dt="2022-05-04T12:15:36.856" v="930" actId="478"/>
          <ac:spMkLst>
            <pc:docMk/>
            <pc:sldMk cId="3094373073" sldId="2076137776"/>
            <ac:spMk id="44" creationId="{07DDE873-EABD-10B0-E5A8-1998A0CC0556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45" creationId="{3458CDE3-B3FF-574E-7449-1625C076FAD6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46" creationId="{7274AD75-DA92-34A8-CFC5-2968AC9B0FA3}"/>
          </ac:spMkLst>
        </pc:spChg>
        <pc:spChg chg="add mod">
          <ac:chgData name="Abhijeet Haval" userId="517cbe5a-8fbb-4f81-929d-8ffd947ac0ac" providerId="ADAL" clId="{85C3DAD2-6BA2-4FAA-ADA6-1098B69C330A}" dt="2022-05-05T05:32:35.567" v="2581" actId="122"/>
          <ac:spMkLst>
            <pc:docMk/>
            <pc:sldMk cId="3094373073" sldId="2076137776"/>
            <ac:spMk id="47" creationId="{DB696D4B-4F76-D204-DE6F-693C5872DA3A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52" creationId="{BCFB54BA-14CF-69FE-05AB-7718798864CB}"/>
          </ac:spMkLst>
        </pc:spChg>
        <pc:spChg chg="add del mod">
          <ac:chgData name="Abhijeet Haval" userId="517cbe5a-8fbb-4f81-929d-8ffd947ac0ac" providerId="ADAL" clId="{85C3DAD2-6BA2-4FAA-ADA6-1098B69C330A}" dt="2022-05-04T12:17:21.526" v="1004" actId="478"/>
          <ac:spMkLst>
            <pc:docMk/>
            <pc:sldMk cId="3094373073" sldId="2076137776"/>
            <ac:spMk id="55" creationId="{3FB988DB-E1BF-E8D2-730E-1ACF87F1EDB8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61" creationId="{C216EC3F-D60A-49E3-80CD-33B94A9CE595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62" creationId="{DC8923FA-FA75-F50F-C246-1F7912807BB3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64" creationId="{44E9B1D2-225D-FE7E-1BF8-1C01521C1930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65" creationId="{299C4AA7-0136-B42F-F5D7-80FE1D897C80}"/>
          </ac:spMkLst>
        </pc:spChg>
        <pc:spChg chg="add mod">
          <ac:chgData name="Abhijeet Haval" userId="517cbe5a-8fbb-4f81-929d-8ffd947ac0ac" providerId="ADAL" clId="{85C3DAD2-6BA2-4FAA-ADA6-1098B69C330A}" dt="2022-05-05T05:32:30.802" v="2580" actId="14100"/>
          <ac:spMkLst>
            <pc:docMk/>
            <pc:sldMk cId="3094373073" sldId="2076137776"/>
            <ac:spMk id="67" creationId="{A530A207-204A-FEDE-86F0-995D3536F420}"/>
          </ac:spMkLst>
        </pc:spChg>
        <pc:spChg chg="add mod">
          <ac:chgData name="Abhijeet Haval" userId="517cbe5a-8fbb-4f81-929d-8ffd947ac0ac" providerId="ADAL" clId="{85C3DAD2-6BA2-4FAA-ADA6-1098B69C330A}" dt="2022-05-05T05:33:20.533" v="2584" actId="1076"/>
          <ac:spMkLst>
            <pc:docMk/>
            <pc:sldMk cId="3094373073" sldId="2076137776"/>
            <ac:spMk id="68" creationId="{829E0ABC-3EBC-604C-7630-7DA96070BBE5}"/>
          </ac:spMkLst>
        </pc:spChg>
        <pc:spChg chg="add mod">
          <ac:chgData name="Abhijeet Haval" userId="517cbe5a-8fbb-4f81-929d-8ffd947ac0ac" providerId="ADAL" clId="{85C3DAD2-6BA2-4FAA-ADA6-1098B69C330A}" dt="2022-05-05T05:33:40.844" v="2587" actId="1076"/>
          <ac:spMkLst>
            <pc:docMk/>
            <pc:sldMk cId="3094373073" sldId="2076137776"/>
            <ac:spMk id="70" creationId="{7C583B8F-1DF5-A253-224A-6D8CA50231BE}"/>
          </ac:spMkLst>
        </pc:spChg>
        <pc:spChg chg="add mod">
          <ac:chgData name="Abhijeet Haval" userId="517cbe5a-8fbb-4f81-929d-8ffd947ac0ac" providerId="ADAL" clId="{85C3DAD2-6BA2-4FAA-ADA6-1098B69C330A}" dt="2022-05-04T12:21:14.307" v="1199" actId="571"/>
          <ac:spMkLst>
            <pc:docMk/>
            <pc:sldMk cId="3094373073" sldId="2076137776"/>
            <ac:spMk id="75" creationId="{2D7DE610-DF92-AA94-7571-03FEBB60613E}"/>
          </ac:spMkLst>
        </pc:spChg>
        <pc:spChg chg="add mod">
          <ac:chgData name="Abhijeet Haval" userId="517cbe5a-8fbb-4f81-929d-8ffd947ac0ac" providerId="ADAL" clId="{85C3DAD2-6BA2-4FAA-ADA6-1098B69C330A}" dt="2022-05-04T12:21:28.247" v="1201" actId="571"/>
          <ac:spMkLst>
            <pc:docMk/>
            <pc:sldMk cId="3094373073" sldId="2076137776"/>
            <ac:spMk id="80" creationId="{0587A760-37CD-53B6-3C54-5587A6390778}"/>
          </ac:spMkLst>
        </pc:spChg>
        <pc:spChg chg="add mod">
          <ac:chgData name="Abhijeet Haval" userId="517cbe5a-8fbb-4f81-929d-8ffd947ac0ac" providerId="ADAL" clId="{85C3DAD2-6BA2-4FAA-ADA6-1098B69C330A}" dt="2022-05-04T12:21:28.247" v="1201" actId="571"/>
          <ac:spMkLst>
            <pc:docMk/>
            <pc:sldMk cId="3094373073" sldId="2076137776"/>
            <ac:spMk id="81" creationId="{850EEAF0-AF2D-B268-DBD8-2DE529F7EEDA}"/>
          </ac:spMkLst>
        </pc:spChg>
        <pc:spChg chg="add mod">
          <ac:chgData name="Abhijeet Haval" userId="517cbe5a-8fbb-4f81-929d-8ffd947ac0ac" providerId="ADAL" clId="{85C3DAD2-6BA2-4FAA-ADA6-1098B69C330A}" dt="2022-05-04T12:21:28.247" v="1201" actId="571"/>
          <ac:spMkLst>
            <pc:docMk/>
            <pc:sldMk cId="3094373073" sldId="2076137776"/>
            <ac:spMk id="82" creationId="{7BC9EFE2-BC3F-AD2C-6A36-72605545ECED}"/>
          </ac:spMkLst>
        </pc:spChg>
        <pc:spChg chg="add mod">
          <ac:chgData name="Abhijeet Haval" userId="517cbe5a-8fbb-4f81-929d-8ffd947ac0ac" providerId="ADAL" clId="{85C3DAD2-6BA2-4FAA-ADA6-1098B69C330A}" dt="2022-05-04T12:21:28.247" v="1201" actId="571"/>
          <ac:spMkLst>
            <pc:docMk/>
            <pc:sldMk cId="3094373073" sldId="2076137776"/>
            <ac:spMk id="84" creationId="{2DD1434D-3A73-EE24-D97F-76B0E659AB68}"/>
          </ac:spMkLst>
        </pc:spChg>
        <pc:spChg chg="add mod">
          <ac:chgData name="Abhijeet Haval" userId="517cbe5a-8fbb-4f81-929d-8ffd947ac0ac" providerId="ADAL" clId="{85C3DAD2-6BA2-4FAA-ADA6-1098B69C330A}" dt="2022-05-04T12:21:28.247" v="1201" actId="571"/>
          <ac:spMkLst>
            <pc:docMk/>
            <pc:sldMk cId="3094373073" sldId="2076137776"/>
            <ac:spMk id="85" creationId="{5DF6B7E9-411A-FC0C-C1D0-2F1D69B9BB2F}"/>
          </ac:spMkLst>
        </pc:spChg>
        <pc:spChg chg="add mod">
          <ac:chgData name="Abhijeet Haval" userId="517cbe5a-8fbb-4f81-929d-8ffd947ac0ac" providerId="ADAL" clId="{85C3DAD2-6BA2-4FAA-ADA6-1098B69C330A}" dt="2022-05-04T12:21:28.247" v="1201" actId="571"/>
          <ac:spMkLst>
            <pc:docMk/>
            <pc:sldMk cId="3094373073" sldId="2076137776"/>
            <ac:spMk id="87" creationId="{5027D92F-CD4B-B3BD-B361-46A6866517CA}"/>
          </ac:spMkLst>
        </pc:spChg>
        <pc:spChg chg="add mod">
          <ac:chgData name="Abhijeet Haval" userId="517cbe5a-8fbb-4f81-929d-8ffd947ac0ac" providerId="ADAL" clId="{85C3DAD2-6BA2-4FAA-ADA6-1098B69C330A}" dt="2022-05-04T12:21:28.247" v="1201" actId="571"/>
          <ac:spMkLst>
            <pc:docMk/>
            <pc:sldMk cId="3094373073" sldId="2076137776"/>
            <ac:spMk id="88" creationId="{799AA8AA-8D9C-B0E6-B521-A7A6CE1A5759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89" creationId="{7391D8D8-DC94-E989-E088-7629A27C73DA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94" creationId="{2AF52F3E-AB1B-080B-8F29-7956EA9F7C34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96" creationId="{9486FC43-A9C0-2588-1688-2DF784496CA8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98" creationId="{FC2C053E-873B-0459-4BFE-DC00E194EAE8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100" creationId="{7BCE14E8-75B6-AEE2-F39B-7D3EC1EA79DF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102" creationId="{15D1FCDE-7D66-664F-20A1-D2D872BF8B50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104" creationId="{C08AB36D-C80D-B522-1C16-16A31C9956C7}"/>
          </ac:spMkLst>
        </pc:spChg>
        <pc:spChg chg="add del mod">
          <ac:chgData name="Abhijeet Haval" userId="517cbe5a-8fbb-4f81-929d-8ffd947ac0ac" providerId="ADAL" clId="{85C3DAD2-6BA2-4FAA-ADA6-1098B69C330A}" dt="2022-05-04T12:55:02.842" v="2099" actId="478"/>
          <ac:spMkLst>
            <pc:docMk/>
            <pc:sldMk cId="3094373073" sldId="2076137776"/>
            <ac:spMk id="106" creationId="{9336A72A-383D-4F62-224E-1B318FEAD4E6}"/>
          </ac:spMkLst>
        </pc:spChg>
        <pc:spChg chg="add mod">
          <ac:chgData name="Abhijeet Haval" userId="517cbe5a-8fbb-4f81-929d-8ffd947ac0ac" providerId="ADAL" clId="{85C3DAD2-6BA2-4FAA-ADA6-1098B69C330A}" dt="2022-05-05T05:16:04.358" v="2407" actId="1038"/>
          <ac:spMkLst>
            <pc:docMk/>
            <pc:sldMk cId="3094373073" sldId="2076137776"/>
            <ac:spMk id="110" creationId="{E34EFA93-A267-0BE4-BC4A-1D9479C8FDE2}"/>
          </ac:spMkLst>
        </pc:sp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13" creationId="{3C695DC6-27DE-CC24-2D2A-8F8FDAC07766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14" creationId="{DB2D2CC8-71A1-AD37-19D4-BFDCDE01982C}"/>
          </ac:cxnSpMkLst>
        </pc:cxnChg>
        <pc:cxnChg chg="add mod">
          <ac:chgData name="Abhijeet Haval" userId="517cbe5a-8fbb-4f81-929d-8ffd947ac0ac" providerId="ADAL" clId="{85C3DAD2-6BA2-4FAA-ADA6-1098B69C330A}" dt="2022-05-05T05:33:11.088" v="2582" actId="478"/>
          <ac:cxnSpMkLst>
            <pc:docMk/>
            <pc:sldMk cId="3094373073" sldId="2076137776"/>
            <ac:cxnSpMk id="19" creationId="{DF401E8E-530C-17C5-AA22-35E9CDE20073}"/>
          </ac:cxnSpMkLst>
        </pc:cxnChg>
        <pc:cxnChg chg="add del mod">
          <ac:chgData name="Abhijeet Haval" userId="517cbe5a-8fbb-4f81-929d-8ffd947ac0ac" providerId="ADAL" clId="{85C3DAD2-6BA2-4FAA-ADA6-1098B69C330A}" dt="2022-05-04T12:20:37.012" v="1180" actId="478"/>
          <ac:cxnSpMkLst>
            <pc:docMk/>
            <pc:sldMk cId="3094373073" sldId="2076137776"/>
            <ac:cxnSpMk id="22" creationId="{C365A920-ED09-EAA4-C890-4BE89478A7FE}"/>
          </ac:cxnSpMkLst>
        </pc:cxnChg>
        <pc:cxnChg chg="add del mod">
          <ac:chgData name="Abhijeet Haval" userId="517cbe5a-8fbb-4f81-929d-8ffd947ac0ac" providerId="ADAL" clId="{85C3DAD2-6BA2-4FAA-ADA6-1098B69C330A}" dt="2022-05-04T12:20:37.900" v="1181" actId="478"/>
          <ac:cxnSpMkLst>
            <pc:docMk/>
            <pc:sldMk cId="3094373073" sldId="2076137776"/>
            <ac:cxnSpMk id="25" creationId="{6657896A-813F-5E08-86E9-4D39E86ABFD8}"/>
          </ac:cxnSpMkLst>
        </pc:cxnChg>
        <pc:cxnChg chg="add del mod">
          <ac:chgData name="Abhijeet Haval" userId="517cbe5a-8fbb-4f81-929d-8ffd947ac0ac" providerId="ADAL" clId="{85C3DAD2-6BA2-4FAA-ADA6-1098B69C330A}" dt="2022-05-04T12:20:39.290" v="1182" actId="478"/>
          <ac:cxnSpMkLst>
            <pc:docMk/>
            <pc:sldMk cId="3094373073" sldId="2076137776"/>
            <ac:cxnSpMk id="28" creationId="{5E96DFB4-EACD-5630-3A5D-8CB6805C8E0C}"/>
          </ac:cxnSpMkLst>
        </pc:cxnChg>
        <pc:cxnChg chg="add del mod">
          <ac:chgData name="Abhijeet Haval" userId="517cbe5a-8fbb-4f81-929d-8ffd947ac0ac" providerId="ADAL" clId="{85C3DAD2-6BA2-4FAA-ADA6-1098B69C330A}" dt="2022-05-04T12:20:40.449" v="1183" actId="478"/>
          <ac:cxnSpMkLst>
            <pc:docMk/>
            <pc:sldMk cId="3094373073" sldId="2076137776"/>
            <ac:cxnSpMk id="31" creationId="{C7C9A47B-5565-1904-73BF-E487D35078E0}"/>
          </ac:cxnSpMkLst>
        </pc:cxnChg>
        <pc:cxnChg chg="add del mod">
          <ac:chgData name="Abhijeet Haval" userId="517cbe5a-8fbb-4f81-929d-8ffd947ac0ac" providerId="ADAL" clId="{85C3DAD2-6BA2-4FAA-ADA6-1098B69C330A}" dt="2022-05-04T12:20:41.748" v="1184" actId="478"/>
          <ac:cxnSpMkLst>
            <pc:docMk/>
            <pc:sldMk cId="3094373073" sldId="2076137776"/>
            <ac:cxnSpMk id="34" creationId="{2DA67703-9033-3173-0D9E-1E0A70629FB6}"/>
          </ac:cxnSpMkLst>
        </pc:cxnChg>
        <pc:cxnChg chg="add del mod">
          <ac:chgData name="Abhijeet Haval" userId="517cbe5a-8fbb-4f81-929d-8ffd947ac0ac" providerId="ADAL" clId="{85C3DAD2-6BA2-4FAA-ADA6-1098B69C330A}" dt="2022-05-04T12:20:42.989" v="1185" actId="478"/>
          <ac:cxnSpMkLst>
            <pc:docMk/>
            <pc:sldMk cId="3094373073" sldId="2076137776"/>
            <ac:cxnSpMk id="37" creationId="{CE7008DF-A437-8093-01C3-5B613FADEC01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49" creationId="{F4E93F77-72E1-ECA1-0D14-70198B360280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51" creationId="{1333C38F-BD06-5E1C-A3E1-0DA79B77F808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54" creationId="{781594FF-56F9-BD24-ED98-19752F364A5F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57" creationId="{C51A2453-194C-146E-8C45-27199B1D8C2F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60" creationId="{D785DFA3-BDFF-EC62-CFBE-62E52CAF6F2D}"/>
          </ac:cxnSpMkLst>
        </pc:cxnChg>
        <pc:cxnChg chg="add mod">
          <ac:chgData name="Abhijeet Haval" userId="517cbe5a-8fbb-4f81-929d-8ffd947ac0ac" providerId="ADAL" clId="{85C3DAD2-6BA2-4FAA-ADA6-1098B69C330A}" dt="2022-05-05T05:33:52.913" v="2588" actId="14100"/>
          <ac:cxnSpMkLst>
            <pc:docMk/>
            <pc:sldMk cId="3094373073" sldId="2076137776"/>
            <ac:cxnSpMk id="63" creationId="{50D036E7-1779-5637-C4C5-12AD4369993A}"/>
          </ac:cxnSpMkLst>
        </pc:cxnChg>
        <pc:cxnChg chg="add mod">
          <ac:chgData name="Abhijeet Haval" userId="517cbe5a-8fbb-4f81-929d-8ffd947ac0ac" providerId="ADAL" clId="{85C3DAD2-6BA2-4FAA-ADA6-1098B69C330A}" dt="2022-05-05T05:33:55.863" v="2589" actId="14100"/>
          <ac:cxnSpMkLst>
            <pc:docMk/>
            <pc:sldMk cId="3094373073" sldId="2076137776"/>
            <ac:cxnSpMk id="66" creationId="{8A9CBB79-91C3-0A57-AD36-7DDAEBAADE85}"/>
          </ac:cxnSpMkLst>
        </pc:cxnChg>
        <pc:cxnChg chg="add mod">
          <ac:chgData name="Abhijeet Haval" userId="517cbe5a-8fbb-4f81-929d-8ffd947ac0ac" providerId="ADAL" clId="{85C3DAD2-6BA2-4FAA-ADA6-1098B69C330A}" dt="2022-05-05T05:33:58.980" v="2590" actId="14100"/>
          <ac:cxnSpMkLst>
            <pc:docMk/>
            <pc:sldMk cId="3094373073" sldId="2076137776"/>
            <ac:cxnSpMk id="69" creationId="{E797ECEF-7880-268E-AC1C-E70FBA592B2C}"/>
          </ac:cxnSpMkLst>
        </pc:cxnChg>
        <pc:cxnChg chg="add mod">
          <ac:chgData name="Abhijeet Haval" userId="517cbe5a-8fbb-4f81-929d-8ffd947ac0ac" providerId="ADAL" clId="{85C3DAD2-6BA2-4FAA-ADA6-1098B69C330A}" dt="2022-05-04T12:21:28.247" v="1201" actId="571"/>
          <ac:cxnSpMkLst>
            <pc:docMk/>
            <pc:sldMk cId="3094373073" sldId="2076137776"/>
            <ac:cxnSpMk id="83" creationId="{A98E57D8-EC38-114C-9E4C-C2BC1C46000E}"/>
          </ac:cxnSpMkLst>
        </pc:cxnChg>
        <pc:cxnChg chg="add mod">
          <ac:chgData name="Abhijeet Haval" userId="517cbe5a-8fbb-4f81-929d-8ffd947ac0ac" providerId="ADAL" clId="{85C3DAD2-6BA2-4FAA-ADA6-1098B69C330A}" dt="2022-05-04T12:21:28.247" v="1201" actId="571"/>
          <ac:cxnSpMkLst>
            <pc:docMk/>
            <pc:sldMk cId="3094373073" sldId="2076137776"/>
            <ac:cxnSpMk id="86" creationId="{C6F177F8-460A-BBFE-473D-B91378515AAF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90" creationId="{751A934A-CF79-79DC-270F-5891D1C1CE28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95" creationId="{23C227BA-7951-E758-B469-4EEC34DA798B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97" creationId="{6B08833B-0A1D-A802-046D-0E69B5A902FB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99" creationId="{26028DDC-E1D3-D16F-9E68-E9099FD0D044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101" creationId="{6637E7E1-06C4-FF33-2AC5-5A38496BD4ED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103" creationId="{206057E6-7BD5-FDF8-FD61-75E67D6E1077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105" creationId="{F8972C93-B675-41C1-749E-EDF2CBB9540A}"/>
          </ac:cxnSpMkLst>
        </pc:cxnChg>
        <pc:cxnChg chg="add mod">
          <ac:chgData name="Abhijeet Haval" userId="517cbe5a-8fbb-4f81-929d-8ffd947ac0ac" providerId="ADAL" clId="{85C3DAD2-6BA2-4FAA-ADA6-1098B69C330A}" dt="2022-05-05T05:16:04.358" v="2407" actId="1038"/>
          <ac:cxnSpMkLst>
            <pc:docMk/>
            <pc:sldMk cId="3094373073" sldId="2076137776"/>
            <ac:cxnSpMk id="107" creationId="{4F0E2B74-5DE8-E343-F16B-3DD62354429F}"/>
          </ac:cxnSpMkLst>
        </pc:cxnChg>
      </pc:sldChg>
      <pc:sldChg chg="addSp delSp modSp new mod">
        <pc:chgData name="Abhijeet Haval" userId="517cbe5a-8fbb-4f81-929d-8ffd947ac0ac" providerId="ADAL" clId="{85C3DAD2-6BA2-4FAA-ADA6-1098B69C330A}" dt="2022-05-05T05:14:16.373" v="2373" actId="20577"/>
        <pc:sldMkLst>
          <pc:docMk/>
          <pc:sldMk cId="2564599080" sldId="2076137777"/>
        </pc:sldMkLst>
        <pc:spChg chg="mod">
          <ac:chgData name="Abhijeet Haval" userId="517cbe5a-8fbb-4f81-929d-8ffd947ac0ac" providerId="ADAL" clId="{85C3DAD2-6BA2-4FAA-ADA6-1098B69C330A}" dt="2022-05-04T13:44:04.187" v="2204" actId="1076"/>
          <ac:spMkLst>
            <pc:docMk/>
            <pc:sldMk cId="2564599080" sldId="2076137777"/>
            <ac:spMk id="2" creationId="{22B2565A-5A1D-51F2-D5FF-5FA75AD18599}"/>
          </ac:spMkLst>
        </pc:spChg>
        <pc:spChg chg="del">
          <ac:chgData name="Abhijeet Haval" userId="517cbe5a-8fbb-4f81-929d-8ffd947ac0ac" providerId="ADAL" clId="{85C3DAD2-6BA2-4FAA-ADA6-1098B69C330A}" dt="2022-05-04T12:01:44.547" v="853" actId="478"/>
          <ac:spMkLst>
            <pc:docMk/>
            <pc:sldMk cId="2564599080" sldId="2076137777"/>
            <ac:spMk id="3" creationId="{2629B5CE-6537-7FED-994E-41BF2F5B0F4B}"/>
          </ac:spMkLst>
        </pc:spChg>
        <pc:spChg chg="add del mod">
          <ac:chgData name="Abhijeet Haval" userId="517cbe5a-8fbb-4f81-929d-8ffd947ac0ac" providerId="ADAL" clId="{85C3DAD2-6BA2-4FAA-ADA6-1098B69C330A}" dt="2022-05-04T13:43:20.008" v="2170" actId="478"/>
          <ac:spMkLst>
            <pc:docMk/>
            <pc:sldMk cId="2564599080" sldId="2076137777"/>
            <ac:spMk id="7" creationId="{DE95613B-05FD-6F87-72B4-85E74690AEDA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8" creationId="{5A2EA328-AE85-B7DB-55CA-74445B75F2E9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9" creationId="{DAFB8416-899C-F680-8EA6-6E3F1224D01F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10" creationId="{B865D6E3-AFD0-E9E2-6A19-24CC2CFA2E87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11" creationId="{A4028AFF-9148-FE59-8F61-0671909B7BAD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12" creationId="{85B1AB2D-C89D-5AC5-8AC8-DC2B2449E055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14" creationId="{D022288C-E628-1D07-2E4E-0518EF4FD8A4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16" creationId="{199A5A71-C8DC-C85C-6318-AB70E0E7654B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22" creationId="{272EB869-FD99-0FD2-BE6B-2C82CF2EC192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24" creationId="{6034DA60-3F8F-CE82-CC89-66C44A078578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26" creationId="{D3B350FB-6590-322C-0C08-DC014EFCEB79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27" creationId="{1DCFB5B1-87C5-68CB-0BE0-58246DC400FE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28" creationId="{1D8C5708-6966-68F3-C6CD-F9CFDF2E9114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29" creationId="{A1B156FE-046F-896D-90D9-C59EF2BD855B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30" creationId="{5264CD75-01A6-CCF6-99BF-F251F2AD14C4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31" creationId="{7561F89F-7D2D-B43E-A831-7EBF850839AF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32" creationId="{CBA65D0A-7D2D-34F4-39A8-CA7AB4E08BD9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34" creationId="{8776938A-7C80-5429-8CB9-D740A05F4EAE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39" creationId="{451AC0E1-0A3C-A48F-3939-4F8160D7421E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42" creationId="{844EF964-A48F-BD22-7579-6A86C23CC489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47" creationId="{0A8E315F-D956-F29A-FB6F-AD6AE07BD2D8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50" creationId="{8244A436-C773-9A34-4270-70A6A5BE273E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54" creationId="{A632AECA-D88A-4C90-E797-33536CE259CF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55" creationId="{992E1EF7-4469-F1AD-E4E2-C50BF692ADD0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56" creationId="{E823F446-E045-9F8E-1BB4-19309552B8E1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63" creationId="{2ADFB375-B403-465F-5076-5E561D82F270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65" creationId="{5DE0B7DC-A396-8DB8-F58D-E5D4D5018BCF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66" creationId="{A7333F6D-1619-BF1B-F475-65ED872FB64B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69" creationId="{4173D4BC-6FC2-5E21-43E8-A1E9792EDF43}"/>
          </ac:spMkLst>
        </pc:spChg>
        <pc:spChg chg="add mod">
          <ac:chgData name="Abhijeet Haval" userId="517cbe5a-8fbb-4f81-929d-8ffd947ac0ac" providerId="ADAL" clId="{85C3DAD2-6BA2-4FAA-ADA6-1098B69C330A}" dt="2022-05-04T13:43:58.871" v="2203" actId="14100"/>
          <ac:spMkLst>
            <pc:docMk/>
            <pc:sldMk cId="2564599080" sldId="2076137777"/>
            <ac:spMk id="70" creationId="{446CC9D7-63F6-3D50-F320-0324A6EFDF5A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71" creationId="{797B6BA4-00E1-460F-EEE2-FDE88DF90489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72" creationId="{9242E41E-574A-9541-AD7A-BB6BD463254D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77" creationId="{60200A6B-2A34-C362-B91A-B1191125D76C}"/>
          </ac:spMkLst>
        </pc:spChg>
        <pc:spChg chg="add mod">
          <ac:chgData name="Abhijeet Haval" userId="517cbe5a-8fbb-4f81-929d-8ffd947ac0ac" providerId="ADAL" clId="{85C3DAD2-6BA2-4FAA-ADA6-1098B69C330A}" dt="2022-05-05T05:14:16.373" v="2373" actId="20577"/>
          <ac:spMkLst>
            <pc:docMk/>
            <pc:sldMk cId="2564599080" sldId="2076137777"/>
            <ac:spMk id="80" creationId="{9BC3024C-7476-561D-4004-04166CEFB22A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81" creationId="{5282364B-800C-E6C4-329E-E2B7F249D9EA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84" creationId="{40DEA3EF-5C28-FED9-44D7-32B15021C8B9}"/>
          </ac:spMkLst>
        </pc:spChg>
        <pc:spChg chg="add mod">
          <ac:chgData name="Abhijeet Haval" userId="517cbe5a-8fbb-4f81-929d-8ffd947ac0ac" providerId="ADAL" clId="{85C3DAD2-6BA2-4FAA-ADA6-1098B69C330A}" dt="2022-05-04T13:43:09.239" v="2169"/>
          <ac:spMkLst>
            <pc:docMk/>
            <pc:sldMk cId="2564599080" sldId="2076137777"/>
            <ac:spMk id="87" creationId="{370EAA2A-E93B-EB6C-BF77-CEB503DE393E}"/>
          </ac:spMkLst>
        </pc:spChg>
        <pc:picChg chg="add del mod">
          <ac:chgData name="Abhijeet Haval" userId="517cbe5a-8fbb-4f81-929d-8ffd947ac0ac" providerId="ADAL" clId="{85C3DAD2-6BA2-4FAA-ADA6-1098B69C330A}" dt="2022-05-04T13:43:06.504" v="2168" actId="478"/>
          <ac:picMkLst>
            <pc:docMk/>
            <pc:sldMk cId="2564599080" sldId="2076137777"/>
            <ac:picMk id="6" creationId="{61E2CB8C-9296-2E68-56A3-D084B2722171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13" creationId="{98380B18-005E-CEA5-8675-B68A445C87C3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15" creationId="{8A73D4C6-3D2E-1423-7B37-05D7670620AB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17" creationId="{25B1D535-AA01-CF4E-67F0-3896450F3347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18" creationId="{7085FB33-C177-1E2D-D166-1331171DF1B9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19" creationId="{584FD094-C2FB-B84B-F35B-5CF39811DE5C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20" creationId="{147A3F11-982B-EC94-FEF5-F3A647DAB1D5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21" creationId="{E5118F18-AB4C-9720-814F-A53AED4118BC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23" creationId="{442CB477-F3D7-2421-DCEB-C47399851783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35" creationId="{49A79998-DD26-2134-8EA7-27F7BF09F714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36" creationId="{85EF18A0-2A60-9F88-B842-F983F9BC8B86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41" creationId="{D5194C7E-B50C-6F08-B918-CE9E41DACFEB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43" creationId="{D88197BA-196E-D58F-75D1-5EEAEBFAB59E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44" creationId="{13B167B6-F6B7-59F9-E260-E77B13E4E7D3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45" creationId="{574920C3-3FA9-E584-AB1F-99F54ED0FF55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46" creationId="{C440447A-EE69-3BAE-FD38-DC866A295F6A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48" creationId="{24212FA0-98C3-D4D2-DFCC-0618A0B35A08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49" creationId="{F4B2B3F0-F30F-D5BE-E118-03C8A7475901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51" creationId="{9CD4CDC6-487F-0B73-25D3-1C50D0016B16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52" creationId="{DDCF6F33-6A54-F605-A394-B16C3F3B3156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53" creationId="{647D7955-FE20-8944-576D-DB72A6976B8E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62" creationId="{4FC4F92E-93BB-01B5-CF47-B59211131B6A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67" creationId="{38D8D065-D015-9209-0762-78539F8313CD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79" creationId="{72589A3C-8960-A0D3-0624-610DBA362D1A}"/>
          </ac:picMkLst>
        </pc:picChg>
        <pc:picChg chg="add mod">
          <ac:chgData name="Abhijeet Haval" userId="517cbe5a-8fbb-4f81-929d-8ffd947ac0ac" providerId="ADAL" clId="{85C3DAD2-6BA2-4FAA-ADA6-1098B69C330A}" dt="2022-05-04T13:43:09.239" v="2169"/>
          <ac:picMkLst>
            <pc:docMk/>
            <pc:sldMk cId="2564599080" sldId="2076137777"/>
            <ac:picMk id="85" creationId="{7338887D-2D89-FB84-C3BD-57F507ECB230}"/>
          </ac:picMkLst>
        </pc:pic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25" creationId="{D7E8F332-BAA6-DDD2-2B75-DADCE997CDDD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33" creationId="{92A2FAC5-C494-EC9A-74A7-D11BD75082ED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37" creationId="{36B2C5E1-B1D7-2E4F-7A24-9F4EAEB7C31B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38" creationId="{2BD16807-A04B-DE20-4D24-04750E8EEAA0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40" creationId="{716DAECF-6FA1-155C-12AA-7AC98E080A5F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57" creationId="{500A3D51-2DA5-4898-B0A3-F10BCE73CED5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58" creationId="{FF0387A3-0F56-C237-C56A-77FA22E9397E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59" creationId="{497BA076-0DE6-2D61-BA1B-10613CC49E76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60" creationId="{AA61F1BC-7847-0A07-3FCC-A52ED482078F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61" creationId="{4321A3BD-1DC8-DA7A-7019-84580C53D479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64" creationId="{52531DFD-F5E8-43BF-8C44-9506E904332B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68" creationId="{32BD927D-1759-3971-A313-8A6096DB59C8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73" creationId="{96F073DA-B469-09DF-D6F7-000361CC8071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74" creationId="{CB45D2DE-05F4-6372-9A78-8719BD455DF4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75" creationId="{0C48CDE5-6F62-2D78-F724-2E98DAD9A736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76" creationId="{EDA1EA36-CD73-4A41-2C07-BB7CA31570FC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78" creationId="{27075614-A24B-E049-0875-D648DA1C0910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82" creationId="{340D04FB-8B7F-36AC-3FAD-58A3F52829D0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83" creationId="{1C7544EA-B37F-5381-9912-45E070769B8E}"/>
          </ac:cxnSpMkLst>
        </pc:cxnChg>
        <pc:cxnChg chg="add mod">
          <ac:chgData name="Abhijeet Haval" userId="517cbe5a-8fbb-4f81-929d-8ffd947ac0ac" providerId="ADAL" clId="{85C3DAD2-6BA2-4FAA-ADA6-1098B69C330A}" dt="2022-05-04T13:43:09.239" v="2169"/>
          <ac:cxnSpMkLst>
            <pc:docMk/>
            <pc:sldMk cId="2564599080" sldId="2076137777"/>
            <ac:cxnSpMk id="86" creationId="{521A6F66-B868-ED42-CD18-8A5D14C315F2}"/>
          </ac:cxnSpMkLst>
        </pc:cxnChg>
      </pc:sldChg>
      <pc:sldChg chg="addSp delSp modSp new mod">
        <pc:chgData name="Abhijeet Haval" userId="517cbe5a-8fbb-4f81-929d-8ffd947ac0ac" providerId="ADAL" clId="{85C3DAD2-6BA2-4FAA-ADA6-1098B69C330A}" dt="2022-05-04T13:51:03.824" v="2343" actId="1036"/>
        <pc:sldMkLst>
          <pc:docMk/>
          <pc:sldMk cId="1967605418" sldId="2076137778"/>
        </pc:sldMkLst>
        <pc:spChg chg="mod">
          <ac:chgData name="Abhijeet Haval" userId="517cbe5a-8fbb-4f81-929d-8ffd947ac0ac" providerId="ADAL" clId="{85C3DAD2-6BA2-4FAA-ADA6-1098B69C330A}" dt="2022-05-04T12:45:17.743" v="2059" actId="1076"/>
          <ac:spMkLst>
            <pc:docMk/>
            <pc:sldMk cId="1967605418" sldId="2076137778"/>
            <ac:spMk id="2" creationId="{DD090069-D857-1DE8-8B27-23600FBD1B6A}"/>
          </ac:spMkLst>
        </pc:spChg>
        <pc:spChg chg="del">
          <ac:chgData name="Abhijeet Haval" userId="517cbe5a-8fbb-4f81-929d-8ffd947ac0ac" providerId="ADAL" clId="{85C3DAD2-6BA2-4FAA-ADA6-1098B69C330A}" dt="2022-05-04T12:26:37.233" v="1626" actId="478"/>
          <ac:spMkLst>
            <pc:docMk/>
            <pc:sldMk cId="1967605418" sldId="2076137778"/>
            <ac:spMk id="3" creationId="{32CAA6F8-6532-7FB7-9451-87BF46DB9C91}"/>
          </ac:spMkLst>
        </pc:spChg>
        <pc:spChg chg="add del">
          <ac:chgData name="Abhijeet Haval" userId="517cbe5a-8fbb-4f81-929d-8ffd947ac0ac" providerId="ADAL" clId="{85C3DAD2-6BA2-4FAA-ADA6-1098B69C330A}" dt="2022-05-04T12:35:21.789" v="1723" actId="478"/>
          <ac:spMkLst>
            <pc:docMk/>
            <pc:sldMk cId="1967605418" sldId="2076137778"/>
            <ac:spMk id="6" creationId="{42CA2ED8-E3C0-754B-0C5C-8EC88256FE69}"/>
          </ac:spMkLst>
        </pc:spChg>
        <pc:spChg chg="add mod or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7" creationId="{FBD2AE27-A7BE-0BB4-3837-060E9774C826}"/>
          </ac:spMkLst>
        </pc:spChg>
        <pc:spChg chg="add mod or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8" creationId="{1F493561-96BB-7236-59BE-E600713CD25F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9" creationId="{1CB6D0CD-7B1F-842E-BFF2-2D157DE435F2}"/>
          </ac:spMkLst>
        </pc:spChg>
        <pc:spChg chg="add del mod">
          <ac:chgData name="Abhijeet Haval" userId="517cbe5a-8fbb-4f81-929d-8ffd947ac0ac" providerId="ADAL" clId="{85C3DAD2-6BA2-4FAA-ADA6-1098B69C330A}" dt="2022-05-04T12:34:04.797" v="1719" actId="767"/>
          <ac:spMkLst>
            <pc:docMk/>
            <pc:sldMk cId="1967605418" sldId="2076137778"/>
            <ac:spMk id="11" creationId="{AE5E2DB6-B742-91E8-5B5A-2F3B6A10FF58}"/>
          </ac:spMkLst>
        </pc:spChg>
        <pc:spChg chg="add mod or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12" creationId="{3A72E585-92E3-D4BA-926F-75F0D76BDDA5}"/>
          </ac:spMkLst>
        </pc:spChg>
        <pc:spChg chg="add mod or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13" creationId="{971E7383-5F9A-C1CA-A520-B7A02824FE83}"/>
          </ac:spMkLst>
        </pc:spChg>
        <pc:spChg chg="add mod or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14" creationId="{C96D273B-6F15-9337-7C13-0492372B35A1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15" creationId="{095FA672-1B68-5F75-052F-63DACFE8BEB8}"/>
          </ac:spMkLst>
        </pc:spChg>
        <pc:spChg chg="add mod or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16" creationId="{E39D60A2-6681-D753-F21F-3C68CA5A0EDD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17" creationId="{91EA57CC-BB31-B13F-8929-756D91FA3911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18" creationId="{03541D4A-F31D-23A9-A814-9F5493820894}"/>
          </ac:spMkLst>
        </pc:spChg>
        <pc:spChg chg="add del mod">
          <ac:chgData name="Abhijeet Haval" userId="517cbe5a-8fbb-4f81-929d-8ffd947ac0ac" providerId="ADAL" clId="{85C3DAD2-6BA2-4FAA-ADA6-1098B69C330A}" dt="2022-05-04T12:46:14.345" v="2095" actId="478"/>
          <ac:spMkLst>
            <pc:docMk/>
            <pc:sldMk cId="1967605418" sldId="2076137778"/>
            <ac:spMk id="19" creationId="{2BD00DF0-30E6-42B9-04CE-042F3AB3BFE8}"/>
          </ac:spMkLst>
        </pc:spChg>
        <pc:spChg chg="add del mod">
          <ac:chgData name="Abhijeet Haval" userId="517cbe5a-8fbb-4f81-929d-8ffd947ac0ac" providerId="ADAL" clId="{85C3DAD2-6BA2-4FAA-ADA6-1098B69C330A}" dt="2022-05-04T13:50:10.851" v="2264" actId="478"/>
          <ac:spMkLst>
            <pc:docMk/>
            <pc:sldMk cId="1967605418" sldId="2076137778"/>
            <ac:spMk id="20" creationId="{BE91C265-2CEE-058D-8030-2431198F00A6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21" creationId="{27196D5B-806F-0FC9-C296-85B2E7329DC4}"/>
          </ac:spMkLst>
        </pc:spChg>
        <pc:spChg chg="add del mod">
          <ac:chgData name="Abhijeet Haval" userId="517cbe5a-8fbb-4f81-929d-8ffd947ac0ac" providerId="ADAL" clId="{85C3DAD2-6BA2-4FAA-ADA6-1098B69C330A}" dt="2022-05-04T13:19:16.060" v="2122" actId="478"/>
          <ac:spMkLst>
            <pc:docMk/>
            <pc:sldMk cId="1967605418" sldId="2076137778"/>
            <ac:spMk id="22" creationId="{67B30BFB-4FE4-A4E1-5E78-E67737AB5F80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23" creationId="{4D68E1B2-5C70-C230-D13E-EF723A8AF76F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24" creationId="{63F05C55-38B2-6ABE-F9CB-D8F42DA1E83F}"/>
          </ac:spMkLst>
        </pc:spChg>
        <pc:spChg chg="add del">
          <ac:chgData name="Abhijeet Haval" userId="517cbe5a-8fbb-4f81-929d-8ffd947ac0ac" providerId="ADAL" clId="{85C3DAD2-6BA2-4FAA-ADA6-1098B69C330A}" dt="2022-05-04T13:50:09.338" v="2263" actId="478"/>
          <ac:spMkLst>
            <pc:docMk/>
            <pc:sldMk cId="1967605418" sldId="2076137778"/>
            <ac:spMk id="25" creationId="{51F56B67-79A4-FF54-326B-7BFC6DBF94E5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26" creationId="{1593E3CE-13B7-86C9-894B-5024B3B1888F}"/>
          </ac:spMkLst>
        </pc:spChg>
        <pc:spChg chg="add del mod">
          <ac:chgData name="Abhijeet Haval" userId="517cbe5a-8fbb-4f81-929d-8ffd947ac0ac" providerId="ADAL" clId="{85C3DAD2-6BA2-4FAA-ADA6-1098B69C330A}" dt="2022-05-04T13:47:40.963" v="2239" actId="478"/>
          <ac:spMkLst>
            <pc:docMk/>
            <pc:sldMk cId="1967605418" sldId="2076137778"/>
            <ac:spMk id="27" creationId="{A45B2E90-ACDA-9C3E-8493-83FFA0C08A72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28" creationId="{7407A028-2091-FE35-D14A-1251A0102F8E}"/>
          </ac:spMkLst>
        </pc:spChg>
        <pc:spChg chg="add mod or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29" creationId="{7DF0AF29-5DD9-2536-D16A-0394B997050A}"/>
          </ac:spMkLst>
        </pc:spChg>
        <pc:spChg chg="add mod">
          <ac:chgData name="Abhijeet Haval" userId="517cbe5a-8fbb-4f81-929d-8ffd947ac0ac" providerId="ADAL" clId="{85C3DAD2-6BA2-4FAA-ADA6-1098B69C330A}" dt="2022-05-04T13:51:03.824" v="2343" actId="1036"/>
          <ac:spMkLst>
            <pc:docMk/>
            <pc:sldMk cId="1967605418" sldId="2076137778"/>
            <ac:spMk id="30" creationId="{C443B670-90B8-2A42-25E2-47B6799CFCEA}"/>
          </ac:spMkLst>
        </pc:spChg>
        <pc:graphicFrameChg chg="add del mod modGraphic">
          <ac:chgData name="Abhijeet Haval" userId="517cbe5a-8fbb-4f81-929d-8ffd947ac0ac" providerId="ADAL" clId="{85C3DAD2-6BA2-4FAA-ADA6-1098B69C330A}" dt="2022-05-04T12:34:05.237" v="1720" actId="1032"/>
          <ac:graphicFrameMkLst>
            <pc:docMk/>
            <pc:sldMk cId="1967605418" sldId="2076137778"/>
            <ac:graphicFrameMk id="10" creationId="{6312967E-91A1-A0BA-40F1-07873DE4CF25}"/>
          </ac:graphicFrameMkLst>
        </pc:graphicFrameChg>
      </pc:sldChg>
    </pc:docChg>
  </pc:docChgLst>
  <pc:docChgLst>
    <pc:chgData name="Mahendra Saraf" userId="S::mahendra.saraf@icertis.com::e918b414-f154-41c9-9eeb-091669f33c7d" providerId="AD" clId="Web-{F07E51E5-A629-F2ED-3A32-BE12FD348DFD}"/>
    <pc:docChg chg="addSld addMainMaster modSection">
      <pc:chgData name="Mahendra Saraf" userId="S::mahendra.saraf@icertis.com::e918b414-f154-41c9-9eeb-091669f33c7d" providerId="AD" clId="Web-{F07E51E5-A629-F2ED-3A32-BE12FD348DFD}" dt="2022-05-05T05:14:36.616" v="0"/>
      <pc:docMkLst>
        <pc:docMk/>
      </pc:docMkLst>
      <pc:sldChg chg="add">
        <pc:chgData name="Mahendra Saraf" userId="S::mahendra.saraf@icertis.com::e918b414-f154-41c9-9eeb-091669f33c7d" providerId="AD" clId="Web-{F07E51E5-A629-F2ED-3A32-BE12FD348DFD}" dt="2022-05-05T05:14:36.616" v="0"/>
        <pc:sldMkLst>
          <pc:docMk/>
          <pc:sldMk cId="4197374925" sldId="2076137779"/>
        </pc:sldMkLst>
      </pc:sldChg>
      <pc:sldMasterChg chg="add addSldLayout">
        <pc:chgData name="Mahendra Saraf" userId="S::mahendra.saraf@icertis.com::e918b414-f154-41c9-9eeb-091669f33c7d" providerId="AD" clId="Web-{F07E51E5-A629-F2ED-3A32-BE12FD348DFD}" dt="2022-05-05T05:14:36.616" v="0"/>
        <pc:sldMasterMkLst>
          <pc:docMk/>
          <pc:sldMasterMk cId="790626477" sldId="2147483764"/>
        </pc:sldMasterMkLst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686742901" sldId="2147483765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3082411471" sldId="2147483766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30658158" sldId="2147483767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3660607496" sldId="2147483768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96759598" sldId="2147483769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696807019" sldId="2147483770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4191244338" sldId="2147483771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3469257453" sldId="2147483772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738365905" sldId="2147483773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669375175" sldId="2147483774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272082865" sldId="2147483775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869452543" sldId="2147483776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24831760" sldId="2147483777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4202906182" sldId="2147483778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4211598301" sldId="2147483779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92196547" sldId="2147483780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3786900120" sldId="2147483781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546515940" sldId="2147483782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105713200" sldId="2147483783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2236864749" sldId="2147483784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754440248" sldId="2147483785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611531273" sldId="2147483786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3148272902" sldId="2147483787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7804156" sldId="2147483788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651217974" sldId="2147483789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1288609571" sldId="2147483790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2263368253" sldId="2147483791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963853998" sldId="2147483792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4153398260" sldId="2147483793"/>
          </pc:sldLayoutMkLst>
        </pc:sldLayoutChg>
        <pc:sldLayoutChg chg="add">
          <pc:chgData name="Mahendra Saraf" userId="S::mahendra.saraf@icertis.com::e918b414-f154-41c9-9eeb-091669f33c7d" providerId="AD" clId="Web-{F07E51E5-A629-F2ED-3A32-BE12FD348DFD}" dt="2022-05-05T05:14:36.616" v="0"/>
          <pc:sldLayoutMkLst>
            <pc:docMk/>
            <pc:sldMasterMk cId="790626477" sldId="2147483764"/>
            <pc:sldLayoutMk cId="4248041239" sldId="2147483794"/>
          </pc:sldLayoutMkLst>
        </pc:sldLayoutChg>
      </pc:sldMasterChg>
    </pc:docChg>
  </pc:docChgLst>
  <pc:docChgLst>
    <pc:chgData name="Abhishek Trivedi" userId="S::abhishek.trivedi@icertis.com::2ab5df78-00c9-46d6-b918-4f178fedf756" providerId="AD" clId="Web-{F2887B5B-0404-4F05-AC00-9458C1B5433C}"/>
    <pc:docChg chg="delSld modSld sldOrd modSection">
      <pc:chgData name="Abhishek Trivedi" userId="S::abhishek.trivedi@icertis.com::2ab5df78-00c9-46d6-b918-4f178fedf756" providerId="AD" clId="Web-{F2887B5B-0404-4F05-AC00-9458C1B5433C}" dt="2022-05-05T05:20:29.758" v="50"/>
      <pc:docMkLst>
        <pc:docMk/>
      </pc:docMkLst>
      <pc:sldChg chg="addSp delSp modSp ord">
        <pc:chgData name="Abhishek Trivedi" userId="S::abhishek.trivedi@icertis.com::2ab5df78-00c9-46d6-b918-4f178fedf756" providerId="AD" clId="Web-{F2887B5B-0404-4F05-AC00-9458C1B5433C}" dt="2022-05-05T05:20:29.758" v="50"/>
        <pc:sldMkLst>
          <pc:docMk/>
          <pc:sldMk cId="1426057603" sldId="357"/>
        </pc:sldMkLst>
        <pc:graphicFrameChg chg="add del mod">
          <ac:chgData name="Abhishek Trivedi" userId="S::abhishek.trivedi@icertis.com::2ab5df78-00c9-46d6-b918-4f178fedf756" providerId="AD" clId="Web-{F2887B5B-0404-4F05-AC00-9458C1B5433C}" dt="2022-05-05T05:19:17.507" v="44"/>
          <ac:graphicFrameMkLst>
            <pc:docMk/>
            <pc:sldMk cId="1426057603" sldId="357"/>
            <ac:graphicFrameMk id="3" creationId="{A768435D-551B-505D-D44D-2EFDA88267B1}"/>
          </ac:graphicFrameMkLst>
        </pc:graphicFrameChg>
        <pc:graphicFrameChg chg="mod modGraphic">
          <ac:chgData name="Abhishek Trivedi" userId="S::abhishek.trivedi@icertis.com::2ab5df78-00c9-46d6-b918-4f178fedf756" providerId="AD" clId="Web-{F2887B5B-0404-4F05-AC00-9458C1B5433C}" dt="2022-05-05T05:20:29.758" v="50"/>
          <ac:graphicFrameMkLst>
            <pc:docMk/>
            <pc:sldMk cId="1426057603" sldId="357"/>
            <ac:graphicFrameMk id="9" creationId="{56A8B318-7C74-4DEB-8814-00EF0FEEE14F}"/>
          </ac:graphicFrameMkLst>
        </pc:graphicFrameChg>
      </pc:sldChg>
      <pc:sldChg chg="del">
        <pc:chgData name="Abhishek Trivedi" userId="S::abhishek.trivedi@icertis.com::2ab5df78-00c9-46d6-b918-4f178fedf756" providerId="AD" clId="Web-{F2887B5B-0404-4F05-AC00-9458C1B5433C}" dt="2022-05-05T05:15:34.565" v="0"/>
        <pc:sldMkLst>
          <pc:docMk/>
          <pc:sldMk cId="2933003917" sldId="2076137769"/>
        </pc:sldMkLst>
      </pc:sldChg>
      <pc:sldChg chg="del">
        <pc:chgData name="Abhishek Trivedi" userId="S::abhishek.trivedi@icertis.com::2ab5df78-00c9-46d6-b918-4f178fedf756" providerId="AD" clId="Web-{F2887B5B-0404-4F05-AC00-9458C1B5433C}" dt="2022-05-05T05:16:57.394" v="2"/>
        <pc:sldMkLst>
          <pc:docMk/>
          <pc:sldMk cId="615095642" sldId="207613777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DC81DF-0EB8-44D8-A2E5-EF41C31FC34F}" type="doc">
      <dgm:prSet loTypeId="urn:microsoft.com/office/officeart/2016/7/layout/RepeatingBendingProcessNew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099F73B-9389-460B-969F-6154C513F52D}">
      <dgm:prSet custT="1"/>
      <dgm:spPr>
        <a:solidFill>
          <a:srgbClr val="0070C0"/>
        </a:solidFill>
      </dgm:spPr>
      <dgm:t>
        <a:bodyPr/>
        <a:lstStyle/>
        <a:p>
          <a:r>
            <a:rPr lang="en-US" sz="1400"/>
            <a:t>Login to </a:t>
          </a:r>
          <a:r>
            <a:rPr lang="en-US" sz="1400">
              <a:latin typeface="Work Sans SemiBold"/>
            </a:rPr>
            <a:t>IDN</a:t>
          </a:r>
          <a:endParaRPr lang="en-US" sz="1400"/>
        </a:p>
      </dgm:t>
    </dgm:pt>
    <dgm:pt modelId="{32C2DB23-C901-47A6-B012-67764160C516}" type="parTrans" cxnId="{42A91E81-0D12-4E71-B0AF-94C1D426F575}">
      <dgm:prSet/>
      <dgm:spPr/>
      <dgm:t>
        <a:bodyPr/>
        <a:lstStyle/>
        <a:p>
          <a:endParaRPr lang="en-US" sz="2000"/>
        </a:p>
      </dgm:t>
    </dgm:pt>
    <dgm:pt modelId="{FE286481-2C8B-420C-AA91-C04F9D90C9CD}" type="sibTrans" cxnId="{42A91E81-0D12-4E71-B0AF-94C1D426F575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CB3E0A17-58A4-43F3-85DA-3DEABDA8A0A3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400"/>
            <a:t>Go to Developer Home Page</a:t>
          </a:r>
          <a:r>
            <a:rPr lang="en-US" sz="1400">
              <a:latin typeface="Work Sans SemiBold"/>
            </a:rPr>
            <a:t> </a:t>
          </a:r>
          <a:endParaRPr lang="en-US" sz="1400"/>
        </a:p>
      </dgm:t>
    </dgm:pt>
    <dgm:pt modelId="{4DCDD67C-4A0F-4383-8892-933106CB5F10}" type="parTrans" cxnId="{05F094DE-D2D6-4C00-92A1-DE4F0B129EA0}">
      <dgm:prSet/>
      <dgm:spPr/>
      <dgm:t>
        <a:bodyPr/>
        <a:lstStyle/>
        <a:p>
          <a:endParaRPr lang="en-US" sz="2000"/>
        </a:p>
      </dgm:t>
    </dgm:pt>
    <dgm:pt modelId="{DE6A72AD-707E-4CC6-912C-C7D59E3FD944}" type="sibTrans" cxnId="{05F094DE-D2D6-4C00-92A1-DE4F0B129EA0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DEBC27B6-FA97-4D17-B7EF-B8937FDE59AB}">
      <dgm:prSet custT="1"/>
      <dgm:spPr>
        <a:solidFill>
          <a:srgbClr val="0070C0"/>
        </a:solidFill>
      </dgm:spPr>
      <dgm:t>
        <a:bodyPr/>
        <a:lstStyle/>
        <a:p>
          <a:r>
            <a:rPr lang="en-US" sz="1400"/>
            <a:t>Developer Instance Request</a:t>
          </a:r>
        </a:p>
      </dgm:t>
    </dgm:pt>
    <dgm:pt modelId="{45419E70-4B04-4B89-8920-BA09D97FFE46}" type="parTrans" cxnId="{98BCEE82-071D-4D75-8191-480229A3D402}">
      <dgm:prSet/>
      <dgm:spPr/>
      <dgm:t>
        <a:bodyPr/>
        <a:lstStyle/>
        <a:p>
          <a:endParaRPr lang="en-US" sz="2000"/>
        </a:p>
      </dgm:t>
    </dgm:pt>
    <dgm:pt modelId="{DE0972ED-DA4B-4662-88C8-EB7BF9CEB80D}" type="sibTrans" cxnId="{98BCEE82-071D-4D75-8191-480229A3D402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29A575E3-68E7-4A8D-BE40-8F2423D928FE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400"/>
            <a:t>Download the Icertis Developer Workbench</a:t>
          </a:r>
          <a:r>
            <a:rPr lang="en-US" sz="1400">
              <a:latin typeface="Work Sans SemiBold"/>
            </a:rPr>
            <a:t> </a:t>
          </a:r>
          <a:endParaRPr lang="en-US" sz="1400"/>
        </a:p>
      </dgm:t>
    </dgm:pt>
    <dgm:pt modelId="{51378E66-11D1-4F9F-84F7-53795BCB28CD}" type="parTrans" cxnId="{9C7FF0BD-6B03-449C-832F-FC1D5D27338B}">
      <dgm:prSet/>
      <dgm:spPr/>
      <dgm:t>
        <a:bodyPr/>
        <a:lstStyle/>
        <a:p>
          <a:endParaRPr lang="en-US" sz="2000"/>
        </a:p>
      </dgm:t>
    </dgm:pt>
    <dgm:pt modelId="{4AA7AE57-7FF0-4B76-A0BB-24182E1B7D3C}" type="sibTrans" cxnId="{9C7FF0BD-6B03-449C-832F-FC1D5D27338B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87796D87-5C8E-46A9-8136-8E0D796B5A06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400"/>
            <a:t>Start Development</a:t>
          </a:r>
          <a:r>
            <a:rPr lang="en-US" sz="1400">
              <a:latin typeface="Work Sans SemiBold"/>
            </a:rPr>
            <a:t> </a:t>
          </a:r>
          <a:endParaRPr lang="en-US" sz="1400"/>
        </a:p>
      </dgm:t>
    </dgm:pt>
    <dgm:pt modelId="{C8320A05-9588-4316-AAB9-2268F8F3EAEC}" type="parTrans" cxnId="{9DBDD4E8-15F4-43AA-B664-B3909BE5EB06}">
      <dgm:prSet/>
      <dgm:spPr/>
      <dgm:t>
        <a:bodyPr/>
        <a:lstStyle/>
        <a:p>
          <a:endParaRPr lang="en-US" sz="2000"/>
        </a:p>
      </dgm:t>
    </dgm:pt>
    <dgm:pt modelId="{B23025E1-C5CA-444B-A919-890B3CE5D4C9}" type="sibTrans" cxnId="{9DBDD4E8-15F4-43AA-B664-B3909BE5EB06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7CCF5F07-5DBF-4C23-8B34-B7A30EB5795D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400"/>
            <a:t>Test the changes</a:t>
          </a:r>
          <a:r>
            <a:rPr lang="en-US" sz="1400">
              <a:latin typeface="Work Sans SemiBold"/>
            </a:rPr>
            <a:t> </a:t>
          </a:r>
          <a:endParaRPr lang="en-US" sz="1400"/>
        </a:p>
      </dgm:t>
    </dgm:pt>
    <dgm:pt modelId="{14B937D1-B4CF-433F-9772-97BF31754490}" type="parTrans" cxnId="{AD122F3F-1738-4FF7-8375-0858181BEF5A}">
      <dgm:prSet/>
      <dgm:spPr/>
      <dgm:t>
        <a:bodyPr/>
        <a:lstStyle/>
        <a:p>
          <a:endParaRPr lang="en-US" sz="2000"/>
        </a:p>
      </dgm:t>
    </dgm:pt>
    <dgm:pt modelId="{AEF84207-696F-413E-9E19-FB02BFCED954}" type="sibTrans" cxnId="{AD122F3F-1738-4FF7-8375-0858181BEF5A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8E7B048B-E359-4EA4-B27B-8911AFB18435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400"/>
            <a:t>Submit the Zip file for certification: Code, DB, Test</a:t>
          </a:r>
          <a:r>
            <a:rPr lang="en-US" sz="1400">
              <a:latin typeface="Work Sans SemiBold"/>
            </a:rPr>
            <a:t> </a:t>
          </a:r>
          <a:endParaRPr lang="en-US" sz="1400"/>
        </a:p>
      </dgm:t>
    </dgm:pt>
    <dgm:pt modelId="{315F27C8-DBEC-4FFF-B8BF-6433D0A293DF}" type="parTrans" cxnId="{491C5109-690B-4480-A44A-2372CD6F2C63}">
      <dgm:prSet/>
      <dgm:spPr/>
      <dgm:t>
        <a:bodyPr/>
        <a:lstStyle/>
        <a:p>
          <a:endParaRPr lang="en-US" sz="2000"/>
        </a:p>
      </dgm:t>
    </dgm:pt>
    <dgm:pt modelId="{74651AB7-DFB1-447E-A145-617DEC8E0EB6}" type="sibTrans" cxnId="{491C5109-690B-4480-A44A-2372CD6F2C63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E7081F26-1BC6-4FE0-91EC-14B54B0400A2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400"/>
            <a:t>Get Certified</a:t>
          </a:r>
          <a:r>
            <a:rPr lang="en-US" sz="1400">
              <a:latin typeface="Work Sans SemiBold"/>
            </a:rPr>
            <a:t> </a:t>
          </a:r>
          <a:endParaRPr lang="en-US" sz="1400"/>
        </a:p>
      </dgm:t>
    </dgm:pt>
    <dgm:pt modelId="{1A6686A8-39C5-4330-8C24-578319221FCC}" type="parTrans" cxnId="{6E4CBC6B-A5D5-4223-B67F-D6D7963996D5}">
      <dgm:prSet/>
      <dgm:spPr/>
      <dgm:t>
        <a:bodyPr/>
        <a:lstStyle/>
        <a:p>
          <a:endParaRPr lang="en-US" sz="2000"/>
        </a:p>
      </dgm:t>
    </dgm:pt>
    <dgm:pt modelId="{9F920598-1A29-4C40-8833-F4FD68C98F2D}" type="sibTrans" cxnId="{6E4CBC6B-A5D5-4223-B67F-D6D7963996D5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600"/>
        </a:p>
      </dgm:t>
    </dgm:pt>
    <dgm:pt modelId="{69356E0B-CC4A-4AFD-B1C8-57503DDFB418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en-US" sz="1400"/>
            <a:t>Request for Deployment of Certified Code on desired non-prod Instance</a:t>
          </a:r>
          <a:r>
            <a:rPr lang="en-US" sz="1400">
              <a:latin typeface="Work Sans SemiBold"/>
            </a:rPr>
            <a:t> </a:t>
          </a:r>
          <a:endParaRPr lang="en-US" sz="1400"/>
        </a:p>
      </dgm:t>
    </dgm:pt>
    <dgm:pt modelId="{E0306D1A-3FED-4A34-BA16-620245384029}" type="parTrans" cxnId="{9DD60294-4D8F-4123-B81A-1A83E2167FC1}">
      <dgm:prSet/>
      <dgm:spPr/>
      <dgm:t>
        <a:bodyPr/>
        <a:lstStyle/>
        <a:p>
          <a:endParaRPr lang="en-US" sz="2000"/>
        </a:p>
      </dgm:t>
    </dgm:pt>
    <dgm:pt modelId="{8B265EA0-2BB4-4521-8D9C-AF9386BBC69D}" type="sibTrans" cxnId="{9DD60294-4D8F-4123-B81A-1A83E2167FC1}">
      <dgm:prSet/>
      <dgm:spPr/>
      <dgm:t>
        <a:bodyPr/>
        <a:lstStyle/>
        <a:p>
          <a:endParaRPr lang="en-US" sz="2000"/>
        </a:p>
      </dgm:t>
    </dgm:pt>
    <dgm:pt modelId="{70024F70-6C3B-4258-A201-5081B0FD15E0}" type="pres">
      <dgm:prSet presAssocID="{4EDC81DF-0EB8-44D8-A2E5-EF41C31FC34F}" presName="Name0" presStyleCnt="0">
        <dgm:presLayoutVars>
          <dgm:dir/>
          <dgm:resizeHandles val="exact"/>
        </dgm:presLayoutVars>
      </dgm:prSet>
      <dgm:spPr/>
    </dgm:pt>
    <dgm:pt modelId="{F5FA2F15-7253-4519-A58C-1D87D85DE73D}" type="pres">
      <dgm:prSet presAssocID="{5099F73B-9389-460B-969F-6154C513F52D}" presName="node" presStyleLbl="node1" presStyleIdx="0" presStyleCnt="9">
        <dgm:presLayoutVars>
          <dgm:bulletEnabled val="1"/>
        </dgm:presLayoutVars>
      </dgm:prSet>
      <dgm:spPr/>
    </dgm:pt>
    <dgm:pt modelId="{3CFDE615-F867-4CBA-A778-781CCC7DB3E9}" type="pres">
      <dgm:prSet presAssocID="{FE286481-2C8B-420C-AA91-C04F9D90C9CD}" presName="sibTrans" presStyleLbl="sibTrans1D1" presStyleIdx="0" presStyleCnt="8"/>
      <dgm:spPr/>
    </dgm:pt>
    <dgm:pt modelId="{D326AF4D-9987-4AD7-84E3-467DE913DB43}" type="pres">
      <dgm:prSet presAssocID="{FE286481-2C8B-420C-AA91-C04F9D90C9CD}" presName="connectorText" presStyleLbl="sibTrans1D1" presStyleIdx="0" presStyleCnt="8"/>
      <dgm:spPr/>
    </dgm:pt>
    <dgm:pt modelId="{DE6D60EA-8282-43E7-9C74-CD3F520BB3A6}" type="pres">
      <dgm:prSet presAssocID="{CB3E0A17-58A4-43F3-85DA-3DEABDA8A0A3}" presName="node" presStyleLbl="node1" presStyleIdx="1" presStyleCnt="9">
        <dgm:presLayoutVars>
          <dgm:bulletEnabled val="1"/>
        </dgm:presLayoutVars>
      </dgm:prSet>
      <dgm:spPr/>
    </dgm:pt>
    <dgm:pt modelId="{935FA0DC-D954-47CC-93E7-B36E7AABD06C}" type="pres">
      <dgm:prSet presAssocID="{DE6A72AD-707E-4CC6-912C-C7D59E3FD944}" presName="sibTrans" presStyleLbl="sibTrans1D1" presStyleIdx="1" presStyleCnt="8"/>
      <dgm:spPr/>
    </dgm:pt>
    <dgm:pt modelId="{3BA9AD95-E292-4D6A-9196-2ECEEDBFED16}" type="pres">
      <dgm:prSet presAssocID="{DE6A72AD-707E-4CC6-912C-C7D59E3FD944}" presName="connectorText" presStyleLbl="sibTrans1D1" presStyleIdx="1" presStyleCnt="8"/>
      <dgm:spPr/>
    </dgm:pt>
    <dgm:pt modelId="{CFAF1AC0-B803-4556-930A-07D937BA6E5F}" type="pres">
      <dgm:prSet presAssocID="{DEBC27B6-FA97-4D17-B7EF-B8937FDE59AB}" presName="node" presStyleLbl="node1" presStyleIdx="2" presStyleCnt="9">
        <dgm:presLayoutVars>
          <dgm:bulletEnabled val="1"/>
        </dgm:presLayoutVars>
      </dgm:prSet>
      <dgm:spPr/>
    </dgm:pt>
    <dgm:pt modelId="{890E9B58-A6A7-46A1-988D-B9CC86073385}" type="pres">
      <dgm:prSet presAssocID="{DE0972ED-DA4B-4662-88C8-EB7BF9CEB80D}" presName="sibTrans" presStyleLbl="sibTrans1D1" presStyleIdx="2" presStyleCnt="8"/>
      <dgm:spPr/>
    </dgm:pt>
    <dgm:pt modelId="{5CFBBBD0-A1D3-464F-A2AA-C27D9CD93691}" type="pres">
      <dgm:prSet presAssocID="{DE0972ED-DA4B-4662-88C8-EB7BF9CEB80D}" presName="connectorText" presStyleLbl="sibTrans1D1" presStyleIdx="2" presStyleCnt="8"/>
      <dgm:spPr/>
    </dgm:pt>
    <dgm:pt modelId="{0437E0AC-C278-45C8-80AA-3E5EA362729D}" type="pres">
      <dgm:prSet presAssocID="{29A575E3-68E7-4A8D-BE40-8F2423D928FE}" presName="node" presStyleLbl="node1" presStyleIdx="3" presStyleCnt="9">
        <dgm:presLayoutVars>
          <dgm:bulletEnabled val="1"/>
        </dgm:presLayoutVars>
      </dgm:prSet>
      <dgm:spPr/>
    </dgm:pt>
    <dgm:pt modelId="{1E6FF6DD-C590-46A8-8893-FD1BA1089B57}" type="pres">
      <dgm:prSet presAssocID="{4AA7AE57-7FF0-4B76-A0BB-24182E1B7D3C}" presName="sibTrans" presStyleLbl="sibTrans1D1" presStyleIdx="3" presStyleCnt="8"/>
      <dgm:spPr/>
    </dgm:pt>
    <dgm:pt modelId="{C70128F6-2A70-4A65-833C-67FE4F0A55D3}" type="pres">
      <dgm:prSet presAssocID="{4AA7AE57-7FF0-4B76-A0BB-24182E1B7D3C}" presName="connectorText" presStyleLbl="sibTrans1D1" presStyleIdx="3" presStyleCnt="8"/>
      <dgm:spPr/>
    </dgm:pt>
    <dgm:pt modelId="{6B5C6CB3-CAD6-489B-9877-AB577444D9D5}" type="pres">
      <dgm:prSet presAssocID="{87796D87-5C8E-46A9-8136-8E0D796B5A06}" presName="node" presStyleLbl="node1" presStyleIdx="4" presStyleCnt="9">
        <dgm:presLayoutVars>
          <dgm:bulletEnabled val="1"/>
        </dgm:presLayoutVars>
      </dgm:prSet>
      <dgm:spPr/>
    </dgm:pt>
    <dgm:pt modelId="{0EE098A0-7F2C-4DBC-A242-F2C17E1AE9D2}" type="pres">
      <dgm:prSet presAssocID="{B23025E1-C5CA-444B-A919-890B3CE5D4C9}" presName="sibTrans" presStyleLbl="sibTrans1D1" presStyleIdx="4" presStyleCnt="8"/>
      <dgm:spPr/>
    </dgm:pt>
    <dgm:pt modelId="{80399EE3-1DD2-42F1-B76B-B9D1462052CE}" type="pres">
      <dgm:prSet presAssocID="{B23025E1-C5CA-444B-A919-890B3CE5D4C9}" presName="connectorText" presStyleLbl="sibTrans1D1" presStyleIdx="4" presStyleCnt="8"/>
      <dgm:spPr/>
    </dgm:pt>
    <dgm:pt modelId="{078F548A-552D-46D3-A045-B6F57997147F}" type="pres">
      <dgm:prSet presAssocID="{7CCF5F07-5DBF-4C23-8B34-B7A30EB5795D}" presName="node" presStyleLbl="node1" presStyleIdx="5" presStyleCnt="9">
        <dgm:presLayoutVars>
          <dgm:bulletEnabled val="1"/>
        </dgm:presLayoutVars>
      </dgm:prSet>
      <dgm:spPr/>
    </dgm:pt>
    <dgm:pt modelId="{D6DCC21C-23D1-4A46-8752-5CBE703A76EC}" type="pres">
      <dgm:prSet presAssocID="{AEF84207-696F-413E-9E19-FB02BFCED954}" presName="sibTrans" presStyleLbl="sibTrans1D1" presStyleIdx="5" presStyleCnt="8"/>
      <dgm:spPr/>
    </dgm:pt>
    <dgm:pt modelId="{7E58C718-9D18-44BD-8F13-FE9814C93103}" type="pres">
      <dgm:prSet presAssocID="{AEF84207-696F-413E-9E19-FB02BFCED954}" presName="connectorText" presStyleLbl="sibTrans1D1" presStyleIdx="5" presStyleCnt="8"/>
      <dgm:spPr/>
    </dgm:pt>
    <dgm:pt modelId="{E2ECBADF-C8F1-402C-AAE0-FB83DABCDC8E}" type="pres">
      <dgm:prSet presAssocID="{8E7B048B-E359-4EA4-B27B-8911AFB18435}" presName="node" presStyleLbl="node1" presStyleIdx="6" presStyleCnt="9">
        <dgm:presLayoutVars>
          <dgm:bulletEnabled val="1"/>
        </dgm:presLayoutVars>
      </dgm:prSet>
      <dgm:spPr/>
    </dgm:pt>
    <dgm:pt modelId="{9B13354D-03F4-48CD-82EA-FF1957ECA35D}" type="pres">
      <dgm:prSet presAssocID="{74651AB7-DFB1-447E-A145-617DEC8E0EB6}" presName="sibTrans" presStyleLbl="sibTrans1D1" presStyleIdx="6" presStyleCnt="8"/>
      <dgm:spPr/>
    </dgm:pt>
    <dgm:pt modelId="{E3AC438F-B577-4129-94FA-626280C8F0DA}" type="pres">
      <dgm:prSet presAssocID="{74651AB7-DFB1-447E-A145-617DEC8E0EB6}" presName="connectorText" presStyleLbl="sibTrans1D1" presStyleIdx="6" presStyleCnt="8"/>
      <dgm:spPr/>
    </dgm:pt>
    <dgm:pt modelId="{4A4ECF31-C4EA-4EBC-A17D-A0795A5A38AA}" type="pres">
      <dgm:prSet presAssocID="{E7081F26-1BC6-4FE0-91EC-14B54B0400A2}" presName="node" presStyleLbl="node1" presStyleIdx="7" presStyleCnt="9">
        <dgm:presLayoutVars>
          <dgm:bulletEnabled val="1"/>
        </dgm:presLayoutVars>
      </dgm:prSet>
      <dgm:spPr/>
    </dgm:pt>
    <dgm:pt modelId="{371AF70F-D996-4D7B-9A57-7887F87D14FD}" type="pres">
      <dgm:prSet presAssocID="{9F920598-1A29-4C40-8833-F4FD68C98F2D}" presName="sibTrans" presStyleLbl="sibTrans1D1" presStyleIdx="7" presStyleCnt="8"/>
      <dgm:spPr/>
    </dgm:pt>
    <dgm:pt modelId="{C75AA951-E513-45D3-9F4D-7EDA25D80034}" type="pres">
      <dgm:prSet presAssocID="{9F920598-1A29-4C40-8833-F4FD68C98F2D}" presName="connectorText" presStyleLbl="sibTrans1D1" presStyleIdx="7" presStyleCnt="8"/>
      <dgm:spPr/>
    </dgm:pt>
    <dgm:pt modelId="{6292B258-F387-4620-B184-ED56B879E60A}" type="pres">
      <dgm:prSet presAssocID="{69356E0B-CC4A-4AFD-B1C8-57503DDFB418}" presName="node" presStyleLbl="node1" presStyleIdx="8" presStyleCnt="9">
        <dgm:presLayoutVars>
          <dgm:bulletEnabled val="1"/>
        </dgm:presLayoutVars>
      </dgm:prSet>
      <dgm:spPr/>
    </dgm:pt>
  </dgm:ptLst>
  <dgm:cxnLst>
    <dgm:cxn modelId="{491C5109-690B-4480-A44A-2372CD6F2C63}" srcId="{4EDC81DF-0EB8-44D8-A2E5-EF41C31FC34F}" destId="{8E7B048B-E359-4EA4-B27B-8911AFB18435}" srcOrd="6" destOrd="0" parTransId="{315F27C8-DBEC-4FFF-B8BF-6433D0A293DF}" sibTransId="{74651AB7-DFB1-447E-A145-617DEC8E0EB6}"/>
    <dgm:cxn modelId="{F270540C-DC32-497A-BA65-2CA2DEDE7186}" type="presOf" srcId="{8E7B048B-E359-4EA4-B27B-8911AFB18435}" destId="{E2ECBADF-C8F1-402C-AAE0-FB83DABCDC8E}" srcOrd="0" destOrd="0" presId="urn:microsoft.com/office/officeart/2016/7/layout/RepeatingBendingProcessNew"/>
    <dgm:cxn modelId="{A99C3225-6EAE-40D1-848D-F2238B64FBB6}" type="presOf" srcId="{DE6A72AD-707E-4CC6-912C-C7D59E3FD944}" destId="{3BA9AD95-E292-4D6A-9196-2ECEEDBFED16}" srcOrd="1" destOrd="0" presId="urn:microsoft.com/office/officeart/2016/7/layout/RepeatingBendingProcessNew"/>
    <dgm:cxn modelId="{2265E926-E02D-42DA-A822-956B4405FB0D}" type="presOf" srcId="{74651AB7-DFB1-447E-A145-617DEC8E0EB6}" destId="{9B13354D-03F4-48CD-82EA-FF1957ECA35D}" srcOrd="0" destOrd="0" presId="urn:microsoft.com/office/officeart/2016/7/layout/RepeatingBendingProcessNew"/>
    <dgm:cxn modelId="{C32EE627-1098-430A-82E1-EFF71EAA1B11}" type="presOf" srcId="{CB3E0A17-58A4-43F3-85DA-3DEABDA8A0A3}" destId="{DE6D60EA-8282-43E7-9C74-CD3F520BB3A6}" srcOrd="0" destOrd="0" presId="urn:microsoft.com/office/officeart/2016/7/layout/RepeatingBendingProcessNew"/>
    <dgm:cxn modelId="{6C0AEC28-8596-416C-A18D-8FC9CCF0BC68}" type="presOf" srcId="{B23025E1-C5CA-444B-A919-890B3CE5D4C9}" destId="{80399EE3-1DD2-42F1-B76B-B9D1462052CE}" srcOrd="1" destOrd="0" presId="urn:microsoft.com/office/officeart/2016/7/layout/RepeatingBendingProcessNew"/>
    <dgm:cxn modelId="{00CE102A-2795-4EF1-82AA-F3BFB8CB3151}" type="presOf" srcId="{4AA7AE57-7FF0-4B76-A0BB-24182E1B7D3C}" destId="{1E6FF6DD-C590-46A8-8893-FD1BA1089B57}" srcOrd="0" destOrd="0" presId="urn:microsoft.com/office/officeart/2016/7/layout/RepeatingBendingProcessNew"/>
    <dgm:cxn modelId="{FE8D2837-420E-4D9A-A2D1-2D33D6C68DF9}" type="presOf" srcId="{AEF84207-696F-413E-9E19-FB02BFCED954}" destId="{D6DCC21C-23D1-4A46-8752-5CBE703A76EC}" srcOrd="0" destOrd="0" presId="urn:microsoft.com/office/officeart/2016/7/layout/RepeatingBendingProcessNew"/>
    <dgm:cxn modelId="{AD122F3F-1738-4FF7-8375-0858181BEF5A}" srcId="{4EDC81DF-0EB8-44D8-A2E5-EF41C31FC34F}" destId="{7CCF5F07-5DBF-4C23-8B34-B7A30EB5795D}" srcOrd="5" destOrd="0" parTransId="{14B937D1-B4CF-433F-9772-97BF31754490}" sibTransId="{AEF84207-696F-413E-9E19-FB02BFCED954}"/>
    <dgm:cxn modelId="{6D3A275D-8C78-4698-AED5-0DCBCC771F37}" type="presOf" srcId="{E7081F26-1BC6-4FE0-91EC-14B54B0400A2}" destId="{4A4ECF31-C4EA-4EBC-A17D-A0795A5A38AA}" srcOrd="0" destOrd="0" presId="urn:microsoft.com/office/officeart/2016/7/layout/RepeatingBendingProcessNew"/>
    <dgm:cxn modelId="{AE262B61-7017-4EC8-8F7E-2B531417AF6E}" type="presOf" srcId="{69356E0B-CC4A-4AFD-B1C8-57503DDFB418}" destId="{6292B258-F387-4620-B184-ED56B879E60A}" srcOrd="0" destOrd="0" presId="urn:microsoft.com/office/officeart/2016/7/layout/RepeatingBendingProcessNew"/>
    <dgm:cxn modelId="{95322962-CD1D-40DB-A976-45BA9CC22D01}" type="presOf" srcId="{74651AB7-DFB1-447E-A145-617DEC8E0EB6}" destId="{E3AC438F-B577-4129-94FA-626280C8F0DA}" srcOrd="1" destOrd="0" presId="urn:microsoft.com/office/officeart/2016/7/layout/RepeatingBendingProcessNew"/>
    <dgm:cxn modelId="{58D00F67-F835-4A57-B962-7B2291A01C0F}" type="presOf" srcId="{4AA7AE57-7FF0-4B76-A0BB-24182E1B7D3C}" destId="{C70128F6-2A70-4A65-833C-67FE4F0A55D3}" srcOrd="1" destOrd="0" presId="urn:microsoft.com/office/officeart/2016/7/layout/RepeatingBendingProcessNew"/>
    <dgm:cxn modelId="{BA57616A-F059-4D41-943E-72C281DFDB2C}" type="presOf" srcId="{29A575E3-68E7-4A8D-BE40-8F2423D928FE}" destId="{0437E0AC-C278-45C8-80AA-3E5EA362729D}" srcOrd="0" destOrd="0" presId="urn:microsoft.com/office/officeart/2016/7/layout/RepeatingBendingProcessNew"/>
    <dgm:cxn modelId="{0590D74A-CB6C-4555-9836-93430CE181CE}" type="presOf" srcId="{87796D87-5C8E-46A9-8136-8E0D796B5A06}" destId="{6B5C6CB3-CAD6-489B-9877-AB577444D9D5}" srcOrd="0" destOrd="0" presId="urn:microsoft.com/office/officeart/2016/7/layout/RepeatingBendingProcessNew"/>
    <dgm:cxn modelId="{6E4CBC6B-A5D5-4223-B67F-D6D7963996D5}" srcId="{4EDC81DF-0EB8-44D8-A2E5-EF41C31FC34F}" destId="{E7081F26-1BC6-4FE0-91EC-14B54B0400A2}" srcOrd="7" destOrd="0" parTransId="{1A6686A8-39C5-4330-8C24-578319221FCC}" sibTransId="{9F920598-1A29-4C40-8833-F4FD68C98F2D}"/>
    <dgm:cxn modelId="{42A91E81-0D12-4E71-B0AF-94C1D426F575}" srcId="{4EDC81DF-0EB8-44D8-A2E5-EF41C31FC34F}" destId="{5099F73B-9389-460B-969F-6154C513F52D}" srcOrd="0" destOrd="0" parTransId="{32C2DB23-C901-47A6-B012-67764160C516}" sibTransId="{FE286481-2C8B-420C-AA91-C04F9D90C9CD}"/>
    <dgm:cxn modelId="{98BCEE82-071D-4D75-8191-480229A3D402}" srcId="{4EDC81DF-0EB8-44D8-A2E5-EF41C31FC34F}" destId="{DEBC27B6-FA97-4D17-B7EF-B8937FDE59AB}" srcOrd="2" destOrd="0" parTransId="{45419E70-4B04-4B89-8920-BA09D97FFE46}" sibTransId="{DE0972ED-DA4B-4662-88C8-EB7BF9CEB80D}"/>
    <dgm:cxn modelId="{9DD60294-4D8F-4123-B81A-1A83E2167FC1}" srcId="{4EDC81DF-0EB8-44D8-A2E5-EF41C31FC34F}" destId="{69356E0B-CC4A-4AFD-B1C8-57503DDFB418}" srcOrd="8" destOrd="0" parTransId="{E0306D1A-3FED-4A34-BA16-620245384029}" sibTransId="{8B265EA0-2BB4-4521-8D9C-AF9386BBC69D}"/>
    <dgm:cxn modelId="{2B40B9B0-439A-4442-A429-542F9D046B28}" type="presOf" srcId="{9F920598-1A29-4C40-8833-F4FD68C98F2D}" destId="{C75AA951-E513-45D3-9F4D-7EDA25D80034}" srcOrd="1" destOrd="0" presId="urn:microsoft.com/office/officeart/2016/7/layout/RepeatingBendingProcessNew"/>
    <dgm:cxn modelId="{767AABBC-28CC-4144-A0A0-7B8567AE1138}" type="presOf" srcId="{FE286481-2C8B-420C-AA91-C04F9D90C9CD}" destId="{D326AF4D-9987-4AD7-84E3-467DE913DB43}" srcOrd="1" destOrd="0" presId="urn:microsoft.com/office/officeart/2016/7/layout/RepeatingBendingProcessNew"/>
    <dgm:cxn modelId="{9C7FF0BD-6B03-449C-832F-FC1D5D27338B}" srcId="{4EDC81DF-0EB8-44D8-A2E5-EF41C31FC34F}" destId="{29A575E3-68E7-4A8D-BE40-8F2423D928FE}" srcOrd="3" destOrd="0" parTransId="{51378E66-11D1-4F9F-84F7-53795BCB28CD}" sibTransId="{4AA7AE57-7FF0-4B76-A0BB-24182E1B7D3C}"/>
    <dgm:cxn modelId="{007AA7C4-89C7-4EB3-9D93-DB353774B4D0}" type="presOf" srcId="{AEF84207-696F-413E-9E19-FB02BFCED954}" destId="{7E58C718-9D18-44BD-8F13-FE9814C93103}" srcOrd="1" destOrd="0" presId="urn:microsoft.com/office/officeart/2016/7/layout/RepeatingBendingProcessNew"/>
    <dgm:cxn modelId="{951606C7-DBC4-43D8-B539-91A0EF1B4746}" type="presOf" srcId="{DE0972ED-DA4B-4662-88C8-EB7BF9CEB80D}" destId="{890E9B58-A6A7-46A1-988D-B9CC86073385}" srcOrd="0" destOrd="0" presId="urn:microsoft.com/office/officeart/2016/7/layout/RepeatingBendingProcessNew"/>
    <dgm:cxn modelId="{84B18CC8-B5D8-4E05-B077-D4A0D866EE7B}" type="presOf" srcId="{B23025E1-C5CA-444B-A919-890B3CE5D4C9}" destId="{0EE098A0-7F2C-4DBC-A242-F2C17E1AE9D2}" srcOrd="0" destOrd="0" presId="urn:microsoft.com/office/officeart/2016/7/layout/RepeatingBendingProcessNew"/>
    <dgm:cxn modelId="{698004CF-5A1D-44FA-A69C-3531250D4441}" type="presOf" srcId="{4EDC81DF-0EB8-44D8-A2E5-EF41C31FC34F}" destId="{70024F70-6C3B-4258-A201-5081B0FD15E0}" srcOrd="0" destOrd="0" presId="urn:microsoft.com/office/officeart/2016/7/layout/RepeatingBendingProcessNew"/>
    <dgm:cxn modelId="{F33D71D0-A79D-4036-A58E-5CAAB47DC792}" type="presOf" srcId="{DEBC27B6-FA97-4D17-B7EF-B8937FDE59AB}" destId="{CFAF1AC0-B803-4556-930A-07D937BA6E5F}" srcOrd="0" destOrd="0" presId="urn:microsoft.com/office/officeart/2016/7/layout/RepeatingBendingProcessNew"/>
    <dgm:cxn modelId="{FFDFFBD0-158C-42FA-8DCF-25B52E839415}" type="presOf" srcId="{FE286481-2C8B-420C-AA91-C04F9D90C9CD}" destId="{3CFDE615-F867-4CBA-A778-781CCC7DB3E9}" srcOrd="0" destOrd="0" presId="urn:microsoft.com/office/officeart/2016/7/layout/RepeatingBendingProcessNew"/>
    <dgm:cxn modelId="{05F094DE-D2D6-4C00-92A1-DE4F0B129EA0}" srcId="{4EDC81DF-0EB8-44D8-A2E5-EF41C31FC34F}" destId="{CB3E0A17-58A4-43F3-85DA-3DEABDA8A0A3}" srcOrd="1" destOrd="0" parTransId="{4DCDD67C-4A0F-4383-8892-933106CB5F10}" sibTransId="{DE6A72AD-707E-4CC6-912C-C7D59E3FD944}"/>
    <dgm:cxn modelId="{191F47E8-86D2-48F8-AA85-45CE9D3361E2}" type="presOf" srcId="{DE0972ED-DA4B-4662-88C8-EB7BF9CEB80D}" destId="{5CFBBBD0-A1D3-464F-A2AA-C27D9CD93691}" srcOrd="1" destOrd="0" presId="urn:microsoft.com/office/officeart/2016/7/layout/RepeatingBendingProcessNew"/>
    <dgm:cxn modelId="{9DBDD4E8-15F4-43AA-B664-B3909BE5EB06}" srcId="{4EDC81DF-0EB8-44D8-A2E5-EF41C31FC34F}" destId="{87796D87-5C8E-46A9-8136-8E0D796B5A06}" srcOrd="4" destOrd="0" parTransId="{C8320A05-9588-4316-AAB9-2268F8F3EAEC}" sibTransId="{B23025E1-C5CA-444B-A919-890B3CE5D4C9}"/>
    <dgm:cxn modelId="{EEF5FDEB-CEBB-4F9A-BA4C-CFC01F354608}" type="presOf" srcId="{9F920598-1A29-4C40-8833-F4FD68C98F2D}" destId="{371AF70F-D996-4D7B-9A57-7887F87D14FD}" srcOrd="0" destOrd="0" presId="urn:microsoft.com/office/officeart/2016/7/layout/RepeatingBendingProcessNew"/>
    <dgm:cxn modelId="{A75E8AF5-1BFB-4973-A791-5F44A001CA03}" type="presOf" srcId="{DE6A72AD-707E-4CC6-912C-C7D59E3FD944}" destId="{935FA0DC-D954-47CC-93E7-B36E7AABD06C}" srcOrd="0" destOrd="0" presId="urn:microsoft.com/office/officeart/2016/7/layout/RepeatingBendingProcessNew"/>
    <dgm:cxn modelId="{8BAAA9F5-B4BD-4417-BE22-4DEFFB06C1A3}" type="presOf" srcId="{5099F73B-9389-460B-969F-6154C513F52D}" destId="{F5FA2F15-7253-4519-A58C-1D87D85DE73D}" srcOrd="0" destOrd="0" presId="urn:microsoft.com/office/officeart/2016/7/layout/RepeatingBendingProcessNew"/>
    <dgm:cxn modelId="{F7AA44FC-7E42-466F-B49C-C5BE2AF0CE54}" type="presOf" srcId="{7CCF5F07-5DBF-4C23-8B34-B7A30EB5795D}" destId="{078F548A-552D-46D3-A045-B6F57997147F}" srcOrd="0" destOrd="0" presId="urn:microsoft.com/office/officeart/2016/7/layout/RepeatingBendingProcessNew"/>
    <dgm:cxn modelId="{6F400D09-A2B6-447C-9E74-DFBF04ADACF7}" type="presParOf" srcId="{70024F70-6C3B-4258-A201-5081B0FD15E0}" destId="{F5FA2F15-7253-4519-A58C-1D87D85DE73D}" srcOrd="0" destOrd="0" presId="urn:microsoft.com/office/officeart/2016/7/layout/RepeatingBendingProcessNew"/>
    <dgm:cxn modelId="{8F29FC47-5966-426E-BAE0-86128013C5FC}" type="presParOf" srcId="{70024F70-6C3B-4258-A201-5081B0FD15E0}" destId="{3CFDE615-F867-4CBA-A778-781CCC7DB3E9}" srcOrd="1" destOrd="0" presId="urn:microsoft.com/office/officeart/2016/7/layout/RepeatingBendingProcessNew"/>
    <dgm:cxn modelId="{3FEA604C-EF62-449E-99AC-B7BFDFD58579}" type="presParOf" srcId="{3CFDE615-F867-4CBA-A778-781CCC7DB3E9}" destId="{D326AF4D-9987-4AD7-84E3-467DE913DB43}" srcOrd="0" destOrd="0" presId="urn:microsoft.com/office/officeart/2016/7/layout/RepeatingBendingProcessNew"/>
    <dgm:cxn modelId="{A240A20B-DD73-4FA3-89CA-A4CC27988884}" type="presParOf" srcId="{70024F70-6C3B-4258-A201-5081B0FD15E0}" destId="{DE6D60EA-8282-43E7-9C74-CD3F520BB3A6}" srcOrd="2" destOrd="0" presId="urn:microsoft.com/office/officeart/2016/7/layout/RepeatingBendingProcessNew"/>
    <dgm:cxn modelId="{990FA8F0-1DDF-434F-A0B0-C57B4FA09921}" type="presParOf" srcId="{70024F70-6C3B-4258-A201-5081B0FD15E0}" destId="{935FA0DC-D954-47CC-93E7-B36E7AABD06C}" srcOrd="3" destOrd="0" presId="urn:microsoft.com/office/officeart/2016/7/layout/RepeatingBendingProcessNew"/>
    <dgm:cxn modelId="{1E2758B8-5187-4D64-BB92-006E8A6F03E3}" type="presParOf" srcId="{935FA0DC-D954-47CC-93E7-B36E7AABD06C}" destId="{3BA9AD95-E292-4D6A-9196-2ECEEDBFED16}" srcOrd="0" destOrd="0" presId="urn:microsoft.com/office/officeart/2016/7/layout/RepeatingBendingProcessNew"/>
    <dgm:cxn modelId="{77CA5525-79D5-4F62-B6AA-59415F3162BA}" type="presParOf" srcId="{70024F70-6C3B-4258-A201-5081B0FD15E0}" destId="{CFAF1AC0-B803-4556-930A-07D937BA6E5F}" srcOrd="4" destOrd="0" presId="urn:microsoft.com/office/officeart/2016/7/layout/RepeatingBendingProcessNew"/>
    <dgm:cxn modelId="{6053B7DC-51A0-4B3C-98DF-99AB16ED5D9E}" type="presParOf" srcId="{70024F70-6C3B-4258-A201-5081B0FD15E0}" destId="{890E9B58-A6A7-46A1-988D-B9CC86073385}" srcOrd="5" destOrd="0" presId="urn:microsoft.com/office/officeart/2016/7/layout/RepeatingBendingProcessNew"/>
    <dgm:cxn modelId="{1AE03E19-A86D-43AF-89A1-A2C9D7049968}" type="presParOf" srcId="{890E9B58-A6A7-46A1-988D-B9CC86073385}" destId="{5CFBBBD0-A1D3-464F-A2AA-C27D9CD93691}" srcOrd="0" destOrd="0" presId="urn:microsoft.com/office/officeart/2016/7/layout/RepeatingBendingProcessNew"/>
    <dgm:cxn modelId="{68B7EDEC-8CBD-4F32-9172-8021017DF567}" type="presParOf" srcId="{70024F70-6C3B-4258-A201-5081B0FD15E0}" destId="{0437E0AC-C278-45C8-80AA-3E5EA362729D}" srcOrd="6" destOrd="0" presId="urn:microsoft.com/office/officeart/2016/7/layout/RepeatingBendingProcessNew"/>
    <dgm:cxn modelId="{7EE38AFD-79AF-42DD-BCA9-F655BF7FBE56}" type="presParOf" srcId="{70024F70-6C3B-4258-A201-5081B0FD15E0}" destId="{1E6FF6DD-C590-46A8-8893-FD1BA1089B57}" srcOrd="7" destOrd="0" presId="urn:microsoft.com/office/officeart/2016/7/layout/RepeatingBendingProcessNew"/>
    <dgm:cxn modelId="{FF2DDF8A-1744-40B8-BFD2-5C83B544CA95}" type="presParOf" srcId="{1E6FF6DD-C590-46A8-8893-FD1BA1089B57}" destId="{C70128F6-2A70-4A65-833C-67FE4F0A55D3}" srcOrd="0" destOrd="0" presId="urn:microsoft.com/office/officeart/2016/7/layout/RepeatingBendingProcessNew"/>
    <dgm:cxn modelId="{92EE07B9-D7BC-4DFA-94D3-9AF631F9A9FA}" type="presParOf" srcId="{70024F70-6C3B-4258-A201-5081B0FD15E0}" destId="{6B5C6CB3-CAD6-489B-9877-AB577444D9D5}" srcOrd="8" destOrd="0" presId="urn:microsoft.com/office/officeart/2016/7/layout/RepeatingBendingProcessNew"/>
    <dgm:cxn modelId="{3FD14C7A-C362-427B-A22C-FD7CE3BD3F02}" type="presParOf" srcId="{70024F70-6C3B-4258-A201-5081B0FD15E0}" destId="{0EE098A0-7F2C-4DBC-A242-F2C17E1AE9D2}" srcOrd="9" destOrd="0" presId="urn:microsoft.com/office/officeart/2016/7/layout/RepeatingBendingProcessNew"/>
    <dgm:cxn modelId="{03F4C291-699F-4DED-B57B-361DEDFBADBF}" type="presParOf" srcId="{0EE098A0-7F2C-4DBC-A242-F2C17E1AE9D2}" destId="{80399EE3-1DD2-42F1-B76B-B9D1462052CE}" srcOrd="0" destOrd="0" presId="urn:microsoft.com/office/officeart/2016/7/layout/RepeatingBendingProcessNew"/>
    <dgm:cxn modelId="{9B79FFD4-3C3E-4C4E-A39F-AA3C418B247B}" type="presParOf" srcId="{70024F70-6C3B-4258-A201-5081B0FD15E0}" destId="{078F548A-552D-46D3-A045-B6F57997147F}" srcOrd="10" destOrd="0" presId="urn:microsoft.com/office/officeart/2016/7/layout/RepeatingBendingProcessNew"/>
    <dgm:cxn modelId="{19F16985-B72E-49D2-AB30-6425D6FA1FF7}" type="presParOf" srcId="{70024F70-6C3B-4258-A201-5081B0FD15E0}" destId="{D6DCC21C-23D1-4A46-8752-5CBE703A76EC}" srcOrd="11" destOrd="0" presId="urn:microsoft.com/office/officeart/2016/7/layout/RepeatingBendingProcessNew"/>
    <dgm:cxn modelId="{539F47F4-C624-4A25-9759-E0546E2A19A3}" type="presParOf" srcId="{D6DCC21C-23D1-4A46-8752-5CBE703A76EC}" destId="{7E58C718-9D18-44BD-8F13-FE9814C93103}" srcOrd="0" destOrd="0" presId="urn:microsoft.com/office/officeart/2016/7/layout/RepeatingBendingProcessNew"/>
    <dgm:cxn modelId="{6E8F58C7-05A7-40BE-A0A1-EEB725D516B2}" type="presParOf" srcId="{70024F70-6C3B-4258-A201-5081B0FD15E0}" destId="{E2ECBADF-C8F1-402C-AAE0-FB83DABCDC8E}" srcOrd="12" destOrd="0" presId="urn:microsoft.com/office/officeart/2016/7/layout/RepeatingBendingProcessNew"/>
    <dgm:cxn modelId="{6B8860D4-A06E-4D39-B071-06E83DB42CE0}" type="presParOf" srcId="{70024F70-6C3B-4258-A201-5081B0FD15E0}" destId="{9B13354D-03F4-48CD-82EA-FF1957ECA35D}" srcOrd="13" destOrd="0" presId="urn:microsoft.com/office/officeart/2016/7/layout/RepeatingBendingProcessNew"/>
    <dgm:cxn modelId="{7A465880-B1C5-4184-811D-038A8860F6B7}" type="presParOf" srcId="{9B13354D-03F4-48CD-82EA-FF1957ECA35D}" destId="{E3AC438F-B577-4129-94FA-626280C8F0DA}" srcOrd="0" destOrd="0" presId="urn:microsoft.com/office/officeart/2016/7/layout/RepeatingBendingProcessNew"/>
    <dgm:cxn modelId="{21CCB0F8-009B-4B66-9B02-35217C608599}" type="presParOf" srcId="{70024F70-6C3B-4258-A201-5081B0FD15E0}" destId="{4A4ECF31-C4EA-4EBC-A17D-A0795A5A38AA}" srcOrd="14" destOrd="0" presId="urn:microsoft.com/office/officeart/2016/7/layout/RepeatingBendingProcessNew"/>
    <dgm:cxn modelId="{583366E2-F98C-4770-838E-0AF0145EF0E6}" type="presParOf" srcId="{70024F70-6C3B-4258-A201-5081B0FD15E0}" destId="{371AF70F-D996-4D7B-9A57-7887F87D14FD}" srcOrd="15" destOrd="0" presId="urn:microsoft.com/office/officeart/2016/7/layout/RepeatingBendingProcessNew"/>
    <dgm:cxn modelId="{C99F4975-8A3F-4C18-BB73-F635F51E3063}" type="presParOf" srcId="{371AF70F-D996-4D7B-9A57-7887F87D14FD}" destId="{C75AA951-E513-45D3-9F4D-7EDA25D80034}" srcOrd="0" destOrd="0" presId="urn:microsoft.com/office/officeart/2016/7/layout/RepeatingBendingProcessNew"/>
    <dgm:cxn modelId="{689AC394-CDCB-48C4-AB2E-44351FBADCB0}" type="presParOf" srcId="{70024F70-6C3B-4258-A201-5081B0FD15E0}" destId="{6292B258-F387-4620-B184-ED56B879E60A}" srcOrd="16" destOrd="0" presId="urn:microsoft.com/office/officeart/2016/7/layout/RepeatingBendingProcessNew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FDE615-F867-4CBA-A778-781CCC7DB3E9}">
      <dsp:nvSpPr>
        <dsp:cNvPr id="0" name=""/>
        <dsp:cNvSpPr/>
      </dsp:nvSpPr>
      <dsp:spPr>
        <a:xfrm>
          <a:off x="1717112" y="573577"/>
          <a:ext cx="36303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3037" y="45720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1888789" y="617327"/>
        <a:ext cx="19681" cy="3940"/>
      </dsp:txXfrm>
    </dsp:sp>
    <dsp:sp modelId="{F5FA2F15-7253-4519-A58C-1D87D85DE73D}">
      <dsp:nvSpPr>
        <dsp:cNvPr id="0" name=""/>
        <dsp:cNvSpPr/>
      </dsp:nvSpPr>
      <dsp:spPr>
        <a:xfrm>
          <a:off x="7445" y="105857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Login to </a:t>
          </a:r>
          <a:r>
            <a:rPr lang="en-US" sz="1400" kern="1200">
              <a:latin typeface="Work Sans SemiBold"/>
            </a:rPr>
            <a:t>IDN</a:t>
          </a:r>
          <a:endParaRPr lang="en-US" sz="1400" kern="1200"/>
        </a:p>
      </dsp:txBody>
      <dsp:txXfrm>
        <a:off x="7445" y="105857"/>
        <a:ext cx="1711466" cy="1026880"/>
      </dsp:txXfrm>
    </dsp:sp>
    <dsp:sp modelId="{935FA0DC-D954-47CC-93E7-B36E7AABD06C}">
      <dsp:nvSpPr>
        <dsp:cNvPr id="0" name=""/>
        <dsp:cNvSpPr/>
      </dsp:nvSpPr>
      <dsp:spPr>
        <a:xfrm>
          <a:off x="3822216" y="573577"/>
          <a:ext cx="36303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3037" y="45720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3993894" y="617327"/>
        <a:ext cx="19681" cy="3940"/>
      </dsp:txXfrm>
    </dsp:sp>
    <dsp:sp modelId="{DE6D60EA-8282-43E7-9C74-CD3F520BB3A6}">
      <dsp:nvSpPr>
        <dsp:cNvPr id="0" name=""/>
        <dsp:cNvSpPr/>
      </dsp:nvSpPr>
      <dsp:spPr>
        <a:xfrm>
          <a:off x="2112549" y="105857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Go to Developer Home Page</a:t>
          </a:r>
          <a:r>
            <a:rPr lang="en-US" sz="1400" kern="1200">
              <a:latin typeface="Work Sans SemiBold"/>
            </a:rPr>
            <a:t> </a:t>
          </a:r>
          <a:endParaRPr lang="en-US" sz="1400" kern="1200"/>
        </a:p>
      </dsp:txBody>
      <dsp:txXfrm>
        <a:off x="2112549" y="105857"/>
        <a:ext cx="1711466" cy="1026880"/>
      </dsp:txXfrm>
    </dsp:sp>
    <dsp:sp modelId="{890E9B58-A6A7-46A1-988D-B9CC86073385}">
      <dsp:nvSpPr>
        <dsp:cNvPr id="0" name=""/>
        <dsp:cNvSpPr/>
      </dsp:nvSpPr>
      <dsp:spPr>
        <a:xfrm>
          <a:off x="863178" y="1130937"/>
          <a:ext cx="4210208" cy="363037"/>
        </a:xfrm>
        <a:custGeom>
          <a:avLst/>
          <a:gdLst/>
          <a:ahLst/>
          <a:cxnLst/>
          <a:rect l="0" t="0" r="0" b="0"/>
          <a:pathLst>
            <a:path>
              <a:moveTo>
                <a:pt x="4210208" y="0"/>
              </a:moveTo>
              <a:lnTo>
                <a:pt x="4210208" y="198618"/>
              </a:lnTo>
              <a:lnTo>
                <a:pt x="0" y="198618"/>
              </a:lnTo>
              <a:lnTo>
                <a:pt x="0" y="363037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2862568" y="1310486"/>
        <a:ext cx="211428" cy="3940"/>
      </dsp:txXfrm>
    </dsp:sp>
    <dsp:sp modelId="{CFAF1AC0-B803-4556-930A-07D937BA6E5F}">
      <dsp:nvSpPr>
        <dsp:cNvPr id="0" name=""/>
        <dsp:cNvSpPr/>
      </dsp:nvSpPr>
      <dsp:spPr>
        <a:xfrm>
          <a:off x="4217653" y="105857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Developer Instance Request</a:t>
          </a:r>
        </a:p>
      </dsp:txBody>
      <dsp:txXfrm>
        <a:off x="4217653" y="105857"/>
        <a:ext cx="1711466" cy="1026880"/>
      </dsp:txXfrm>
    </dsp:sp>
    <dsp:sp modelId="{1E6FF6DD-C590-46A8-8893-FD1BA1089B57}">
      <dsp:nvSpPr>
        <dsp:cNvPr id="0" name=""/>
        <dsp:cNvSpPr/>
      </dsp:nvSpPr>
      <dsp:spPr>
        <a:xfrm>
          <a:off x="1717112" y="1994095"/>
          <a:ext cx="36303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3037" y="45720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1888789" y="2037844"/>
        <a:ext cx="19681" cy="3940"/>
      </dsp:txXfrm>
    </dsp:sp>
    <dsp:sp modelId="{0437E0AC-C278-45C8-80AA-3E5EA362729D}">
      <dsp:nvSpPr>
        <dsp:cNvPr id="0" name=""/>
        <dsp:cNvSpPr/>
      </dsp:nvSpPr>
      <dsp:spPr>
        <a:xfrm>
          <a:off x="7445" y="1526374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Download the Icertis Developer Workbench</a:t>
          </a:r>
          <a:r>
            <a:rPr lang="en-US" sz="1400" kern="1200">
              <a:latin typeface="Work Sans SemiBold"/>
            </a:rPr>
            <a:t> </a:t>
          </a:r>
          <a:endParaRPr lang="en-US" sz="1400" kern="1200"/>
        </a:p>
      </dsp:txBody>
      <dsp:txXfrm>
        <a:off x="7445" y="1526374"/>
        <a:ext cx="1711466" cy="1026880"/>
      </dsp:txXfrm>
    </dsp:sp>
    <dsp:sp modelId="{0EE098A0-7F2C-4DBC-A242-F2C17E1AE9D2}">
      <dsp:nvSpPr>
        <dsp:cNvPr id="0" name=""/>
        <dsp:cNvSpPr/>
      </dsp:nvSpPr>
      <dsp:spPr>
        <a:xfrm>
          <a:off x="3822216" y="1994095"/>
          <a:ext cx="36303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3037" y="45720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3993894" y="2037844"/>
        <a:ext cx="19681" cy="3940"/>
      </dsp:txXfrm>
    </dsp:sp>
    <dsp:sp modelId="{6B5C6CB3-CAD6-489B-9877-AB577444D9D5}">
      <dsp:nvSpPr>
        <dsp:cNvPr id="0" name=""/>
        <dsp:cNvSpPr/>
      </dsp:nvSpPr>
      <dsp:spPr>
        <a:xfrm>
          <a:off x="2112549" y="1526374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tart Development</a:t>
          </a:r>
          <a:r>
            <a:rPr lang="en-US" sz="1400" kern="1200">
              <a:latin typeface="Work Sans SemiBold"/>
            </a:rPr>
            <a:t> </a:t>
          </a:r>
          <a:endParaRPr lang="en-US" sz="1400" kern="1200"/>
        </a:p>
      </dsp:txBody>
      <dsp:txXfrm>
        <a:off x="2112549" y="1526374"/>
        <a:ext cx="1711466" cy="1026880"/>
      </dsp:txXfrm>
    </dsp:sp>
    <dsp:sp modelId="{D6DCC21C-23D1-4A46-8752-5CBE703A76EC}">
      <dsp:nvSpPr>
        <dsp:cNvPr id="0" name=""/>
        <dsp:cNvSpPr/>
      </dsp:nvSpPr>
      <dsp:spPr>
        <a:xfrm>
          <a:off x="863178" y="2551455"/>
          <a:ext cx="4210208" cy="363037"/>
        </a:xfrm>
        <a:custGeom>
          <a:avLst/>
          <a:gdLst/>
          <a:ahLst/>
          <a:cxnLst/>
          <a:rect l="0" t="0" r="0" b="0"/>
          <a:pathLst>
            <a:path>
              <a:moveTo>
                <a:pt x="4210208" y="0"/>
              </a:moveTo>
              <a:lnTo>
                <a:pt x="4210208" y="198618"/>
              </a:lnTo>
              <a:lnTo>
                <a:pt x="0" y="198618"/>
              </a:lnTo>
              <a:lnTo>
                <a:pt x="0" y="363037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2862568" y="2731003"/>
        <a:ext cx="211428" cy="3940"/>
      </dsp:txXfrm>
    </dsp:sp>
    <dsp:sp modelId="{078F548A-552D-46D3-A045-B6F57997147F}">
      <dsp:nvSpPr>
        <dsp:cNvPr id="0" name=""/>
        <dsp:cNvSpPr/>
      </dsp:nvSpPr>
      <dsp:spPr>
        <a:xfrm>
          <a:off x="4217653" y="1526374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Test the changes</a:t>
          </a:r>
          <a:r>
            <a:rPr lang="en-US" sz="1400" kern="1200">
              <a:latin typeface="Work Sans SemiBold"/>
            </a:rPr>
            <a:t> </a:t>
          </a:r>
          <a:endParaRPr lang="en-US" sz="1400" kern="1200"/>
        </a:p>
      </dsp:txBody>
      <dsp:txXfrm>
        <a:off x="4217653" y="1526374"/>
        <a:ext cx="1711466" cy="1026880"/>
      </dsp:txXfrm>
    </dsp:sp>
    <dsp:sp modelId="{9B13354D-03F4-48CD-82EA-FF1957ECA35D}">
      <dsp:nvSpPr>
        <dsp:cNvPr id="0" name=""/>
        <dsp:cNvSpPr/>
      </dsp:nvSpPr>
      <dsp:spPr>
        <a:xfrm>
          <a:off x="1717112" y="3414612"/>
          <a:ext cx="36303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3037" y="45720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1888789" y="3458362"/>
        <a:ext cx="19681" cy="3940"/>
      </dsp:txXfrm>
    </dsp:sp>
    <dsp:sp modelId="{E2ECBADF-C8F1-402C-AAE0-FB83DABCDC8E}">
      <dsp:nvSpPr>
        <dsp:cNvPr id="0" name=""/>
        <dsp:cNvSpPr/>
      </dsp:nvSpPr>
      <dsp:spPr>
        <a:xfrm>
          <a:off x="7445" y="2946892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ubmit the Zip file for certification: Code, DB, Test</a:t>
          </a:r>
          <a:r>
            <a:rPr lang="en-US" sz="1400" kern="1200">
              <a:latin typeface="Work Sans SemiBold"/>
            </a:rPr>
            <a:t> </a:t>
          </a:r>
          <a:endParaRPr lang="en-US" sz="1400" kern="1200"/>
        </a:p>
      </dsp:txBody>
      <dsp:txXfrm>
        <a:off x="7445" y="2946892"/>
        <a:ext cx="1711466" cy="1026880"/>
      </dsp:txXfrm>
    </dsp:sp>
    <dsp:sp modelId="{371AF70F-D996-4D7B-9A57-7887F87D14FD}">
      <dsp:nvSpPr>
        <dsp:cNvPr id="0" name=""/>
        <dsp:cNvSpPr/>
      </dsp:nvSpPr>
      <dsp:spPr>
        <a:xfrm>
          <a:off x="3822216" y="3414612"/>
          <a:ext cx="36303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3037" y="45720"/>
              </a:lnTo>
            </a:path>
          </a:pathLst>
        </a:custGeom>
        <a:noFill/>
        <a:ln w="6350" cap="flat" cmpd="sng" algn="ctr">
          <a:solidFill>
            <a:schemeClr val="tx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3993894" y="3458362"/>
        <a:ext cx="19681" cy="3940"/>
      </dsp:txXfrm>
    </dsp:sp>
    <dsp:sp modelId="{4A4ECF31-C4EA-4EBC-A17D-A0795A5A38AA}">
      <dsp:nvSpPr>
        <dsp:cNvPr id="0" name=""/>
        <dsp:cNvSpPr/>
      </dsp:nvSpPr>
      <dsp:spPr>
        <a:xfrm>
          <a:off x="2112549" y="2946892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Get Certified</a:t>
          </a:r>
          <a:r>
            <a:rPr lang="en-US" sz="1400" kern="1200">
              <a:latin typeface="Work Sans SemiBold"/>
            </a:rPr>
            <a:t> </a:t>
          </a:r>
          <a:endParaRPr lang="en-US" sz="1400" kern="1200"/>
        </a:p>
      </dsp:txBody>
      <dsp:txXfrm>
        <a:off x="2112549" y="2946892"/>
        <a:ext cx="1711466" cy="1026880"/>
      </dsp:txXfrm>
    </dsp:sp>
    <dsp:sp modelId="{6292B258-F387-4620-B184-ED56B879E60A}">
      <dsp:nvSpPr>
        <dsp:cNvPr id="0" name=""/>
        <dsp:cNvSpPr/>
      </dsp:nvSpPr>
      <dsp:spPr>
        <a:xfrm>
          <a:off x="4217653" y="2946892"/>
          <a:ext cx="1711466" cy="1026880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63" tIns="88029" rIns="83863" bIns="8802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Request for Deployment of Certified Code on desired non-prod Instance</a:t>
          </a:r>
          <a:r>
            <a:rPr lang="en-US" sz="1400" kern="1200">
              <a:latin typeface="Work Sans SemiBold"/>
            </a:rPr>
            <a:t> </a:t>
          </a:r>
          <a:endParaRPr lang="en-US" sz="1400" kern="1200"/>
        </a:p>
      </dsp:txBody>
      <dsp:txXfrm>
        <a:off x="4217653" y="2946892"/>
        <a:ext cx="1711466" cy="10268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93EBBB7-3269-46C4-8D4C-3F5F6FF7CD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754563" cy="3095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3822EA-6356-4689-9626-C8D6F79DDD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215063" y="0"/>
            <a:ext cx="4754562" cy="3095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4CD615-4417-40F7-A73E-43655F2DBF92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7B64CB-3C0A-47F5-B037-084A8C98EB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5868988"/>
            <a:ext cx="4754563" cy="3095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D64BAE-D6C0-4054-8D8F-9FBBB052D58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215063" y="5868988"/>
            <a:ext cx="4754562" cy="3095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E0B3C-2174-419E-AAC4-820453656A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6748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754563" cy="3095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215063" y="0"/>
            <a:ext cx="4754562" cy="3095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1800BE-C3D2-4CC5-87A7-12B4894873B1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33788" y="773113"/>
            <a:ext cx="3705225" cy="208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96963" y="2973388"/>
            <a:ext cx="8778875" cy="24336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5868988"/>
            <a:ext cx="4754563" cy="3095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15063" y="5868988"/>
            <a:ext cx="4754562" cy="3095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24AE48-5858-45C2-8961-5211BE52E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399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1pPr>
    <a:lvl2pPr marL="507766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2pPr>
    <a:lvl3pPr marL="1015533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3pPr>
    <a:lvl4pPr marL="1523299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4pPr>
    <a:lvl5pPr marL="2031065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5pPr>
    <a:lvl6pPr marL="2538832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6pPr>
    <a:lvl7pPr marL="3046598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7pPr>
    <a:lvl8pPr marL="3554364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8pPr>
    <a:lvl9pPr marL="4062131" algn="l" defTabSz="1015533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4AE48-5858-45C2-8961-5211BE52ECE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990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3.svg"/><Relationship Id="rId4" Type="http://schemas.openxmlformats.org/officeDocument/2006/relationships/image" Target="../media/image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3.sv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3.svg"/><Relationship Id="rId4" Type="http://schemas.openxmlformats.org/officeDocument/2006/relationships/image" Target="../media/image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3.svg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sv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sv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89B5E47-CB68-463C-9361-4C3B12CD7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4072" y="149459"/>
            <a:ext cx="7309953" cy="6559082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742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F56F330-2539-4614-BDE1-9DD85B277A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792" y="149460"/>
            <a:ext cx="7263454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7A5F0B-73B1-44C9-9169-DBC403315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FECCEF7-3C36-4132-AD7C-4011FCE1D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595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D5ED143-AB79-4888-AAD6-5454BAD1A6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925" y="153504"/>
            <a:ext cx="7245719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9F0518F-8C27-4D26-9B95-4789AB4FBC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45DC56-81DB-4D9B-9ADC-C8D48F7F8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145994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0A0C06-3516-4945-AD0E-EE86124CC0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59" y="156323"/>
            <a:ext cx="7812398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F008B5-94E7-41EA-84A0-448E4323B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5AEFB2-309E-4D5C-9461-53CF89033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807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6B8278C-B087-4E20-8B6A-64B3FE76F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24" y="156323"/>
            <a:ext cx="9805932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317EE3-6760-4879-8FB9-E8E2F1F77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E9748E6-DBA7-4602-A2BE-375E2C08C9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244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ECE3C01-D472-496C-AFDE-23A16CFCFB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861" y="156323"/>
            <a:ext cx="7481666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56169AD-F1A8-4B54-9F92-B5872DC2A1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A60C53-445D-4D6B-88E0-E7E824493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538338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0E5F88A3-F8D0-4CA2-8951-4CB106035E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416" y="149459"/>
            <a:ext cx="6513426" cy="6556248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D26044-16CF-4756-8544-C2B928F81204}"/>
              </a:ext>
            </a:extLst>
          </p:cNvPr>
          <p:cNvSpPr/>
          <p:nvPr userDrawn="1"/>
        </p:nvSpPr>
        <p:spPr>
          <a:xfrm>
            <a:off x="0" y="-1"/>
            <a:ext cx="9746973" cy="6858001"/>
          </a:xfrm>
          <a:custGeom>
            <a:avLst/>
            <a:gdLst>
              <a:gd name="connsiteX0" fmla="*/ 3453222 w 9746973"/>
              <a:gd name="connsiteY0" fmla="*/ 0 h 6858001"/>
              <a:gd name="connsiteX1" fmla="*/ 8291612 w 9746973"/>
              <a:gd name="connsiteY1" fmla="*/ 0 h 6858001"/>
              <a:gd name="connsiteX2" fmla="*/ 8291612 w 9746973"/>
              <a:gd name="connsiteY2" fmla="*/ 38253 h 6858001"/>
              <a:gd name="connsiteX3" fmla="*/ 9746973 w 9746973"/>
              <a:gd name="connsiteY3" fmla="*/ 6858001 h 6858001"/>
              <a:gd name="connsiteX4" fmla="*/ 8283449 w 9746973"/>
              <a:gd name="connsiteY4" fmla="*/ 6858001 h 6858001"/>
              <a:gd name="connsiteX5" fmla="*/ 8283449 w 9746973"/>
              <a:gd name="connsiteY5" fmla="*/ 6858000 h 6858001"/>
              <a:gd name="connsiteX6" fmla="*/ 3528391 w 9746973"/>
              <a:gd name="connsiteY6" fmla="*/ 6858000 h 6858001"/>
              <a:gd name="connsiteX7" fmla="*/ 3528391 w 9746973"/>
              <a:gd name="connsiteY7" fmla="*/ 6858001 h 6858001"/>
              <a:gd name="connsiteX8" fmla="*/ 0 w 9746973"/>
              <a:gd name="connsiteY8" fmla="*/ 6858001 h 6858001"/>
              <a:gd name="connsiteX9" fmla="*/ 0 w 9746973"/>
              <a:gd name="connsiteY9" fmla="*/ 1 h 6858001"/>
              <a:gd name="connsiteX10" fmla="*/ 3453222 w 9746973"/>
              <a:gd name="connsiteY1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746973" h="6858001">
                <a:moveTo>
                  <a:pt x="3453222" y="0"/>
                </a:moveTo>
                <a:lnTo>
                  <a:pt x="8291612" y="0"/>
                </a:lnTo>
                <a:lnTo>
                  <a:pt x="8291612" y="38253"/>
                </a:lnTo>
                <a:lnTo>
                  <a:pt x="9746973" y="6858001"/>
                </a:lnTo>
                <a:lnTo>
                  <a:pt x="8283449" y="6858001"/>
                </a:lnTo>
                <a:lnTo>
                  <a:pt x="8283449" y="6858000"/>
                </a:lnTo>
                <a:lnTo>
                  <a:pt x="3528391" y="6858000"/>
                </a:lnTo>
                <a:lnTo>
                  <a:pt x="3528391" y="6858001"/>
                </a:lnTo>
                <a:lnTo>
                  <a:pt x="0" y="6858001"/>
                </a:lnTo>
                <a:lnTo>
                  <a:pt x="0" y="1"/>
                </a:lnTo>
                <a:lnTo>
                  <a:pt x="345322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463040"/>
            <a:ext cx="4758266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59F3F5F-479B-4621-A71B-F0DDA15D99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81A09D4-4F5A-4138-8B67-C262F5ED1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10CF74E-4ADF-42A1-97BE-E847B5204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2574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56BFAA9-00F7-4F94-B4D6-57FC5D303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4560" y="149459"/>
            <a:ext cx="3829228" cy="6556248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D26044-16CF-4756-8544-C2B928F81204}"/>
              </a:ext>
            </a:extLst>
          </p:cNvPr>
          <p:cNvSpPr/>
          <p:nvPr userDrawn="1"/>
        </p:nvSpPr>
        <p:spPr>
          <a:xfrm>
            <a:off x="0" y="-1"/>
            <a:ext cx="9746973" cy="6858001"/>
          </a:xfrm>
          <a:custGeom>
            <a:avLst/>
            <a:gdLst>
              <a:gd name="connsiteX0" fmla="*/ 3453222 w 9746973"/>
              <a:gd name="connsiteY0" fmla="*/ 0 h 6858001"/>
              <a:gd name="connsiteX1" fmla="*/ 8291612 w 9746973"/>
              <a:gd name="connsiteY1" fmla="*/ 0 h 6858001"/>
              <a:gd name="connsiteX2" fmla="*/ 8291612 w 9746973"/>
              <a:gd name="connsiteY2" fmla="*/ 38253 h 6858001"/>
              <a:gd name="connsiteX3" fmla="*/ 9746973 w 9746973"/>
              <a:gd name="connsiteY3" fmla="*/ 6858001 h 6858001"/>
              <a:gd name="connsiteX4" fmla="*/ 8283449 w 9746973"/>
              <a:gd name="connsiteY4" fmla="*/ 6858001 h 6858001"/>
              <a:gd name="connsiteX5" fmla="*/ 8283449 w 9746973"/>
              <a:gd name="connsiteY5" fmla="*/ 6858000 h 6858001"/>
              <a:gd name="connsiteX6" fmla="*/ 3528391 w 9746973"/>
              <a:gd name="connsiteY6" fmla="*/ 6858000 h 6858001"/>
              <a:gd name="connsiteX7" fmla="*/ 3528391 w 9746973"/>
              <a:gd name="connsiteY7" fmla="*/ 6858001 h 6858001"/>
              <a:gd name="connsiteX8" fmla="*/ 0 w 9746973"/>
              <a:gd name="connsiteY8" fmla="*/ 6858001 h 6858001"/>
              <a:gd name="connsiteX9" fmla="*/ 0 w 9746973"/>
              <a:gd name="connsiteY9" fmla="*/ 1 h 6858001"/>
              <a:gd name="connsiteX10" fmla="*/ 3453222 w 9746973"/>
              <a:gd name="connsiteY1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746973" h="6858001">
                <a:moveTo>
                  <a:pt x="3453222" y="0"/>
                </a:moveTo>
                <a:lnTo>
                  <a:pt x="8291612" y="0"/>
                </a:lnTo>
                <a:lnTo>
                  <a:pt x="8291612" y="38253"/>
                </a:lnTo>
                <a:lnTo>
                  <a:pt x="9746973" y="6858001"/>
                </a:lnTo>
                <a:lnTo>
                  <a:pt x="8283449" y="6858001"/>
                </a:lnTo>
                <a:lnTo>
                  <a:pt x="8283449" y="6858000"/>
                </a:lnTo>
                <a:lnTo>
                  <a:pt x="3528391" y="6858000"/>
                </a:lnTo>
                <a:lnTo>
                  <a:pt x="3528391" y="6858001"/>
                </a:lnTo>
                <a:lnTo>
                  <a:pt x="0" y="6858001"/>
                </a:lnTo>
                <a:lnTo>
                  <a:pt x="0" y="1"/>
                </a:lnTo>
                <a:lnTo>
                  <a:pt x="345322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463040"/>
            <a:ext cx="4758266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59F3F5F-479B-4621-A71B-F0DDA15D99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81A09D4-4F5A-4138-8B67-C262F5ED1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10CF74E-4ADF-42A1-97BE-E847B5204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3659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4C7E45-D745-4A53-9E81-946D9A2B42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0700" y="150391"/>
            <a:ext cx="3894142" cy="6554384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D26044-16CF-4756-8544-C2B928F81204}"/>
              </a:ext>
            </a:extLst>
          </p:cNvPr>
          <p:cNvSpPr/>
          <p:nvPr userDrawn="1"/>
        </p:nvSpPr>
        <p:spPr>
          <a:xfrm>
            <a:off x="0" y="-1"/>
            <a:ext cx="9746973" cy="6858001"/>
          </a:xfrm>
          <a:custGeom>
            <a:avLst/>
            <a:gdLst>
              <a:gd name="connsiteX0" fmla="*/ 3453222 w 9746973"/>
              <a:gd name="connsiteY0" fmla="*/ 0 h 6858001"/>
              <a:gd name="connsiteX1" fmla="*/ 8291612 w 9746973"/>
              <a:gd name="connsiteY1" fmla="*/ 0 h 6858001"/>
              <a:gd name="connsiteX2" fmla="*/ 8291612 w 9746973"/>
              <a:gd name="connsiteY2" fmla="*/ 38253 h 6858001"/>
              <a:gd name="connsiteX3" fmla="*/ 9746973 w 9746973"/>
              <a:gd name="connsiteY3" fmla="*/ 6858001 h 6858001"/>
              <a:gd name="connsiteX4" fmla="*/ 8283449 w 9746973"/>
              <a:gd name="connsiteY4" fmla="*/ 6858001 h 6858001"/>
              <a:gd name="connsiteX5" fmla="*/ 8283449 w 9746973"/>
              <a:gd name="connsiteY5" fmla="*/ 6858000 h 6858001"/>
              <a:gd name="connsiteX6" fmla="*/ 3528391 w 9746973"/>
              <a:gd name="connsiteY6" fmla="*/ 6858000 h 6858001"/>
              <a:gd name="connsiteX7" fmla="*/ 3528391 w 9746973"/>
              <a:gd name="connsiteY7" fmla="*/ 6858001 h 6858001"/>
              <a:gd name="connsiteX8" fmla="*/ 0 w 9746973"/>
              <a:gd name="connsiteY8" fmla="*/ 6858001 h 6858001"/>
              <a:gd name="connsiteX9" fmla="*/ 0 w 9746973"/>
              <a:gd name="connsiteY9" fmla="*/ 1 h 6858001"/>
              <a:gd name="connsiteX10" fmla="*/ 3453222 w 9746973"/>
              <a:gd name="connsiteY1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746973" h="6858001">
                <a:moveTo>
                  <a:pt x="3453222" y="0"/>
                </a:moveTo>
                <a:lnTo>
                  <a:pt x="8291612" y="0"/>
                </a:lnTo>
                <a:lnTo>
                  <a:pt x="8291612" y="38253"/>
                </a:lnTo>
                <a:lnTo>
                  <a:pt x="9746973" y="6858001"/>
                </a:lnTo>
                <a:lnTo>
                  <a:pt x="8283449" y="6858001"/>
                </a:lnTo>
                <a:lnTo>
                  <a:pt x="8283449" y="6858000"/>
                </a:lnTo>
                <a:lnTo>
                  <a:pt x="3528391" y="6858000"/>
                </a:lnTo>
                <a:lnTo>
                  <a:pt x="3528391" y="6858001"/>
                </a:lnTo>
                <a:lnTo>
                  <a:pt x="0" y="6858001"/>
                </a:lnTo>
                <a:lnTo>
                  <a:pt x="0" y="1"/>
                </a:lnTo>
                <a:lnTo>
                  <a:pt x="345322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463040"/>
            <a:ext cx="4758266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59F3F5F-479B-4621-A71B-F0DDA15D99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81A09D4-4F5A-4138-8B67-C262F5ED1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10CF74E-4ADF-42A1-97BE-E847B5204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3751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7D6E7DDB-BF56-4BF8-B17C-8D281CAE10D0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7343983" cy="655624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7173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A5FBFA-AE50-4C9B-AF0C-CA114668B7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85CE34-A11E-4231-B7CE-8D0F1448B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07280" y="6485040"/>
            <a:ext cx="2377440" cy="2194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22D7B2E-A432-4805-9CD3-87FE344EE795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D46121AC-B72B-452B-B296-491FDDE0C9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4E388FA-B095-448E-B0AA-DA2E26D9EB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20828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FBFE1304-D4B2-4EE1-9A0D-C7A26296FF0A}"/>
              </a:ext>
            </a:extLst>
          </p:cNvPr>
          <p:cNvSpPr>
            <a:spLocks noChangeAspect="1"/>
          </p:cNvSpPr>
          <p:nvPr/>
        </p:nvSpPr>
        <p:spPr>
          <a:xfrm>
            <a:off x="4756858" y="152293"/>
            <a:ext cx="7277984" cy="655624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280160"/>
            <a:ext cx="4008900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33DF79-C82A-4B4B-87DB-7CFD5DD92C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9CCB05-92FD-473C-8174-1CA0C518B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58840" y="6485040"/>
            <a:ext cx="1828800" cy="2194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869452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3D66542-E0A7-4CA6-B1BA-9116FB50A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6126" y="149459"/>
            <a:ext cx="7237613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149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8E2996-D23C-4C19-8A83-E9112F7E86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59" y="149824"/>
            <a:ext cx="11249594" cy="65555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831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FC210BD-1F7C-4349-B65C-2CB8896C31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60" y="149459"/>
            <a:ext cx="11211880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29061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65C8094-4B0F-448F-897E-B4706A3DF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57" y="149463"/>
            <a:ext cx="11141463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8" y="149463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15983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CFD30A-B05F-461C-AC3D-7F3E37EB7D1A}"/>
              </a:ext>
            </a:extLst>
          </p:cNvPr>
          <p:cNvSpPr>
            <a:spLocks noChangeAspect="1"/>
          </p:cNvSpPr>
          <p:nvPr userDrawn="1"/>
        </p:nvSpPr>
        <p:spPr>
          <a:xfrm>
            <a:off x="11264793" y="150876"/>
            <a:ext cx="770048" cy="3570519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978176 w 2108203"/>
              <a:gd name="connsiteY6" fmla="*/ 6177404 h 6179063"/>
              <a:gd name="connsiteX7" fmla="*/ 1295401 w 2108203"/>
              <a:gd name="connsiteY7" fmla="*/ 6179063 h 6179063"/>
              <a:gd name="connsiteX8" fmla="*/ 1282703 w 2108203"/>
              <a:gd name="connsiteY8" fmla="*/ 6179063 h 6179063"/>
              <a:gd name="connsiteX9" fmla="*/ 1282703 w 2108203"/>
              <a:gd name="connsiteY9" fmla="*/ 6118499 h 6179063"/>
              <a:gd name="connsiteX10" fmla="*/ 0 w 2108203"/>
              <a:gd name="connsiteY10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1978176 w 2108203"/>
              <a:gd name="connsiteY5" fmla="*/ 6177404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1282703 w 1978176"/>
              <a:gd name="connsiteY7" fmla="*/ 6118499 h 6179063"/>
              <a:gd name="connsiteX8" fmla="*/ 0 w 1978176"/>
              <a:gd name="connsiteY8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0 w 1978176"/>
              <a:gd name="connsiteY7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0 w 1978176"/>
              <a:gd name="connsiteY6" fmla="*/ 513 h 6179063"/>
              <a:gd name="connsiteX0" fmla="*/ 0 w 1978176"/>
              <a:gd name="connsiteY0" fmla="*/ 513 h 6177404"/>
              <a:gd name="connsiteX1" fmla="*/ 1282703 w 1978176"/>
              <a:gd name="connsiteY1" fmla="*/ 513 h 6177404"/>
              <a:gd name="connsiteX2" fmla="*/ 1295401 w 1978176"/>
              <a:gd name="connsiteY2" fmla="*/ 513 h 6177404"/>
              <a:gd name="connsiteX3" fmla="*/ 1972323 w 1978176"/>
              <a:gd name="connsiteY3" fmla="*/ 0 h 6177404"/>
              <a:gd name="connsiteX4" fmla="*/ 1978176 w 1978176"/>
              <a:gd name="connsiteY4" fmla="*/ 6177404 h 6177404"/>
              <a:gd name="connsiteX5" fmla="*/ 0 w 1978176"/>
              <a:gd name="connsiteY5" fmla="*/ 513 h 6177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8176" h="6177404">
                <a:moveTo>
                  <a:pt x="0" y="513"/>
                </a:moveTo>
                <a:lnTo>
                  <a:pt x="1282703" y="513"/>
                </a:lnTo>
                <a:lnTo>
                  <a:pt x="1295401" y="513"/>
                </a:lnTo>
                <a:lnTo>
                  <a:pt x="1972323" y="0"/>
                </a:lnTo>
                <a:lnTo>
                  <a:pt x="1978176" y="6177404"/>
                </a:lnTo>
                <a:lnTo>
                  <a:pt x="0" y="513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rgbClr val="40404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921965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CFD30A-B05F-461C-AC3D-7F3E37EB7D1A}"/>
              </a:ext>
            </a:extLst>
          </p:cNvPr>
          <p:cNvSpPr>
            <a:spLocks noChangeAspect="1"/>
          </p:cNvSpPr>
          <p:nvPr userDrawn="1"/>
        </p:nvSpPr>
        <p:spPr>
          <a:xfrm>
            <a:off x="11264793" y="150876"/>
            <a:ext cx="770048" cy="3570519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978176 w 2108203"/>
              <a:gd name="connsiteY6" fmla="*/ 6177404 h 6179063"/>
              <a:gd name="connsiteX7" fmla="*/ 1295401 w 2108203"/>
              <a:gd name="connsiteY7" fmla="*/ 6179063 h 6179063"/>
              <a:gd name="connsiteX8" fmla="*/ 1282703 w 2108203"/>
              <a:gd name="connsiteY8" fmla="*/ 6179063 h 6179063"/>
              <a:gd name="connsiteX9" fmla="*/ 1282703 w 2108203"/>
              <a:gd name="connsiteY9" fmla="*/ 6118499 h 6179063"/>
              <a:gd name="connsiteX10" fmla="*/ 0 w 2108203"/>
              <a:gd name="connsiteY10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1978176 w 2108203"/>
              <a:gd name="connsiteY5" fmla="*/ 6177404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1282703 w 1978176"/>
              <a:gd name="connsiteY7" fmla="*/ 6118499 h 6179063"/>
              <a:gd name="connsiteX8" fmla="*/ 0 w 1978176"/>
              <a:gd name="connsiteY8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0 w 1978176"/>
              <a:gd name="connsiteY7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0 w 1978176"/>
              <a:gd name="connsiteY6" fmla="*/ 513 h 6179063"/>
              <a:gd name="connsiteX0" fmla="*/ 0 w 1978176"/>
              <a:gd name="connsiteY0" fmla="*/ 513 h 6177404"/>
              <a:gd name="connsiteX1" fmla="*/ 1282703 w 1978176"/>
              <a:gd name="connsiteY1" fmla="*/ 513 h 6177404"/>
              <a:gd name="connsiteX2" fmla="*/ 1295401 w 1978176"/>
              <a:gd name="connsiteY2" fmla="*/ 513 h 6177404"/>
              <a:gd name="connsiteX3" fmla="*/ 1972323 w 1978176"/>
              <a:gd name="connsiteY3" fmla="*/ 0 h 6177404"/>
              <a:gd name="connsiteX4" fmla="*/ 1978176 w 1978176"/>
              <a:gd name="connsiteY4" fmla="*/ 6177404 h 6177404"/>
              <a:gd name="connsiteX5" fmla="*/ 0 w 1978176"/>
              <a:gd name="connsiteY5" fmla="*/ 513 h 6177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8176" h="6177404">
                <a:moveTo>
                  <a:pt x="0" y="513"/>
                </a:moveTo>
                <a:lnTo>
                  <a:pt x="1282703" y="513"/>
                </a:lnTo>
                <a:lnTo>
                  <a:pt x="1295401" y="513"/>
                </a:lnTo>
                <a:lnTo>
                  <a:pt x="1972323" y="0"/>
                </a:lnTo>
                <a:lnTo>
                  <a:pt x="1978176" y="6177404"/>
                </a:lnTo>
                <a:lnTo>
                  <a:pt x="0" y="513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rgbClr val="40404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11C706-9B9E-40CB-9ECF-9A1AAAC462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9016883-4BEF-4E7E-8CD4-AF296E83C49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E1EBC07E-42F0-4338-AF3E-D3836916F8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9001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CFD30A-B05F-461C-AC3D-7F3E37EB7D1A}"/>
              </a:ext>
            </a:extLst>
          </p:cNvPr>
          <p:cNvSpPr>
            <a:spLocks noChangeAspect="1"/>
          </p:cNvSpPr>
          <p:nvPr userDrawn="1"/>
        </p:nvSpPr>
        <p:spPr>
          <a:xfrm>
            <a:off x="11264793" y="150876"/>
            <a:ext cx="770048" cy="3570519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978176 w 2108203"/>
              <a:gd name="connsiteY6" fmla="*/ 6177404 h 6179063"/>
              <a:gd name="connsiteX7" fmla="*/ 1295401 w 2108203"/>
              <a:gd name="connsiteY7" fmla="*/ 6179063 h 6179063"/>
              <a:gd name="connsiteX8" fmla="*/ 1282703 w 2108203"/>
              <a:gd name="connsiteY8" fmla="*/ 6179063 h 6179063"/>
              <a:gd name="connsiteX9" fmla="*/ 1282703 w 2108203"/>
              <a:gd name="connsiteY9" fmla="*/ 6118499 h 6179063"/>
              <a:gd name="connsiteX10" fmla="*/ 0 w 2108203"/>
              <a:gd name="connsiteY10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1978176 w 2108203"/>
              <a:gd name="connsiteY5" fmla="*/ 6177404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1282703 w 1978176"/>
              <a:gd name="connsiteY7" fmla="*/ 6118499 h 6179063"/>
              <a:gd name="connsiteX8" fmla="*/ 0 w 1978176"/>
              <a:gd name="connsiteY8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0 w 1978176"/>
              <a:gd name="connsiteY7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0 w 1978176"/>
              <a:gd name="connsiteY6" fmla="*/ 513 h 6179063"/>
              <a:gd name="connsiteX0" fmla="*/ 0 w 1978176"/>
              <a:gd name="connsiteY0" fmla="*/ 513 h 6177404"/>
              <a:gd name="connsiteX1" fmla="*/ 1282703 w 1978176"/>
              <a:gd name="connsiteY1" fmla="*/ 513 h 6177404"/>
              <a:gd name="connsiteX2" fmla="*/ 1295401 w 1978176"/>
              <a:gd name="connsiteY2" fmla="*/ 513 h 6177404"/>
              <a:gd name="connsiteX3" fmla="*/ 1972323 w 1978176"/>
              <a:gd name="connsiteY3" fmla="*/ 0 h 6177404"/>
              <a:gd name="connsiteX4" fmla="*/ 1978176 w 1978176"/>
              <a:gd name="connsiteY4" fmla="*/ 6177404 h 6177404"/>
              <a:gd name="connsiteX5" fmla="*/ 0 w 1978176"/>
              <a:gd name="connsiteY5" fmla="*/ 513 h 6177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8176" h="6177404">
                <a:moveTo>
                  <a:pt x="0" y="513"/>
                </a:moveTo>
                <a:lnTo>
                  <a:pt x="1282703" y="513"/>
                </a:lnTo>
                <a:lnTo>
                  <a:pt x="1295401" y="513"/>
                </a:lnTo>
                <a:lnTo>
                  <a:pt x="1972323" y="0"/>
                </a:lnTo>
                <a:lnTo>
                  <a:pt x="1978176" y="6177404"/>
                </a:lnTo>
                <a:lnTo>
                  <a:pt x="0" y="513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rgbClr val="40404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465159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57132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48AE51D-CE08-467B-8E32-99FC569809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EDA8A45-29C5-478C-B732-BC6689B527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C9F0AEE-A7F7-438C-8260-42661369325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89F225-BD08-4CAB-B248-EE76A773F4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68647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544402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A9231FF0-99C2-4F2B-9DA2-FA07526516F4}"/>
              </a:ext>
            </a:extLst>
          </p:cNvPr>
          <p:cNvSpPr>
            <a:spLocks/>
          </p:cNvSpPr>
          <p:nvPr/>
        </p:nvSpPr>
        <p:spPr>
          <a:xfrm>
            <a:off x="152400" y="149459"/>
            <a:ext cx="11887200" cy="6556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2E404-7408-46E9-BCA3-D1AC016B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27489-F1A5-4AAB-9FDA-8A573FEAB26C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125095-F865-4398-8265-3A88749668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CEBFE5-095E-41C9-9117-29E48FCCFC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DE83D159-7AAB-44D3-BF0A-266EB1F4004B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CD412E9-F9CA-4601-B679-5412A8CA9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1531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3D66542-E0A7-4CA6-B1BA-9116FB50A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234" y="152415"/>
            <a:ext cx="7150608" cy="6550336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091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A9231FF0-99C2-4F2B-9DA2-FA07526516F4}"/>
              </a:ext>
            </a:extLst>
          </p:cNvPr>
          <p:cNvSpPr>
            <a:spLocks/>
          </p:cNvSpPr>
          <p:nvPr/>
        </p:nvSpPr>
        <p:spPr>
          <a:xfrm>
            <a:off x="152400" y="149459"/>
            <a:ext cx="11887200" cy="6556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2E404-7408-46E9-BCA3-D1AC016B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27489-F1A5-4AAB-9FDA-8A573FEAB26C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125095-F865-4398-8265-3A88749668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CEBFE5-095E-41C9-9117-29E48FCCFC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DE83D159-7AAB-44D3-BF0A-266EB1F4004B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5AD530B-162B-44AD-8CA9-F48AEC7A87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043BD12D-74FA-4B26-9BAE-5B659FD377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0E6B79-9A78-45DC-B5A4-1D25112C2C7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EFBAC92-A326-47AD-A7E6-3232C528B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82729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A9231FF0-99C2-4F2B-9DA2-FA07526516F4}"/>
              </a:ext>
            </a:extLst>
          </p:cNvPr>
          <p:cNvSpPr>
            <a:spLocks/>
          </p:cNvSpPr>
          <p:nvPr/>
        </p:nvSpPr>
        <p:spPr>
          <a:xfrm>
            <a:off x="152400" y="149459"/>
            <a:ext cx="11887200" cy="6556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2E404-7408-46E9-BCA3-D1AC016B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27489-F1A5-4AAB-9FDA-8A573FEAB26C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125095-F865-4398-8265-3A88749668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CEBFE5-095E-41C9-9117-29E48FCCFC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DE83D159-7AAB-44D3-BF0A-266EB1F4004B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41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F3B2A0E-4639-4D15-BF28-838C5FE94757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FAD38-17A3-4768-AE21-DCD57702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62FD9C3-3D06-4B1C-BE0A-88A1A26D2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050" y="6442163"/>
            <a:ext cx="649224" cy="194767"/>
          </a:xfrm>
          <a:prstGeom prst="rect">
            <a:avLst/>
          </a:prstGeom>
        </p:spPr>
      </p:pic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F6F6E9E-AA67-454E-81EF-9DEE94B6F3C3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92C5625-F859-47B6-A68B-923B3C14E7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12179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F3B2A0E-4639-4D15-BF28-838C5FE94757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FAD38-17A3-4768-AE21-DCD57702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62FD9C3-3D06-4B1C-BE0A-88A1A26D2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050" y="6442163"/>
            <a:ext cx="649224" cy="194767"/>
          </a:xfrm>
          <a:prstGeom prst="rect">
            <a:avLst/>
          </a:prstGeom>
        </p:spPr>
      </p:pic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F6F6E9E-AA67-454E-81EF-9DEE94B6F3C3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794F5F4-5987-46FB-868D-02167FE650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BB273F-C0D0-4BB3-AAAB-BBB2F76C94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4105BF-1F15-47E8-A7F9-B31317B74C6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FC0260E-3FF8-41B0-AC34-6D21605D7A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86095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F3B2A0E-4639-4D15-BF28-838C5FE94757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FAD38-17A3-4768-AE21-DCD57702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62FD9C3-3D06-4B1C-BE0A-88A1A26D2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050" y="6442163"/>
            <a:ext cx="649224" cy="194767"/>
          </a:xfrm>
          <a:prstGeom prst="rect">
            <a:avLst/>
          </a:prstGeom>
        </p:spPr>
      </p:pic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F6F6E9E-AA67-454E-81EF-9DEE94B6F3C3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3682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D2E6F7D-1A88-4532-84DB-77E9B81AFA62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346D649-E8BB-4C5B-B95A-E7A278EECE05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04B300-89E5-47CB-B742-E81CD5DA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4946A5-B833-422D-9070-95CDBCB48FF0}"/>
              </a:ext>
            </a:extLst>
          </p:cNvPr>
          <p:cNvGrpSpPr/>
          <p:nvPr userDrawn="1"/>
        </p:nvGrpSpPr>
        <p:grpSpPr>
          <a:xfrm>
            <a:off x="307967" y="6433291"/>
            <a:ext cx="647401" cy="210038"/>
            <a:chOff x="307967" y="6433291"/>
            <a:chExt cx="647401" cy="21003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A9EAB28-74ED-4E37-96B9-2141D2EE0376}"/>
                </a:ext>
              </a:extLst>
            </p:cNvPr>
            <p:cNvGrpSpPr/>
            <p:nvPr userDrawn="1"/>
          </p:nvGrpSpPr>
          <p:grpSpPr>
            <a:xfrm>
              <a:off x="311050" y="6442103"/>
              <a:ext cx="644318" cy="201226"/>
              <a:chOff x="311050" y="6442103"/>
              <a:chExt cx="644318" cy="201226"/>
            </a:xfrm>
          </p:grpSpPr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E56290BD-7F13-4DDE-BE56-C3898B0E897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b="23739"/>
              <a:stretch/>
            </p:blipFill>
            <p:spPr>
              <a:xfrm>
                <a:off x="311050" y="6442103"/>
                <a:ext cx="178923" cy="19367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CDF7198B-BBF6-40D4-8081-B324F9D954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18222" t="81907" r="-1" b="-1478"/>
              <a:stretch/>
            </p:blipFill>
            <p:spPr>
              <a:xfrm>
                <a:off x="516193" y="6494148"/>
                <a:ext cx="439175" cy="149181"/>
              </a:xfrm>
              <a:prstGeom prst="rect">
                <a:avLst/>
              </a:prstGeom>
            </p:spPr>
          </p:pic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FC27ADC-EF95-40AF-97FD-D14562E662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622" t="-1152" b="22879"/>
            <a:stretch/>
          </p:blipFill>
          <p:spPr>
            <a:xfrm>
              <a:off x="307967" y="6433291"/>
              <a:ext cx="185024" cy="204281"/>
            </a:xfrm>
            <a:prstGeom prst="rect">
              <a:avLst/>
            </a:prstGeom>
          </p:spPr>
        </p:pic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747481B-B56A-4A2B-8FA8-1AA5B23485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38539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D2E6F7D-1A88-4532-84DB-77E9B81AFA62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346D649-E8BB-4C5B-B95A-E7A278EECE05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04B300-89E5-47CB-B742-E81CD5DA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4946A5-B833-422D-9070-95CDBCB48FF0}"/>
              </a:ext>
            </a:extLst>
          </p:cNvPr>
          <p:cNvGrpSpPr/>
          <p:nvPr userDrawn="1"/>
        </p:nvGrpSpPr>
        <p:grpSpPr>
          <a:xfrm>
            <a:off x="307967" y="6433291"/>
            <a:ext cx="647401" cy="210038"/>
            <a:chOff x="307967" y="6433291"/>
            <a:chExt cx="647401" cy="21003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A9EAB28-74ED-4E37-96B9-2141D2EE0376}"/>
                </a:ext>
              </a:extLst>
            </p:cNvPr>
            <p:cNvGrpSpPr/>
            <p:nvPr userDrawn="1"/>
          </p:nvGrpSpPr>
          <p:grpSpPr>
            <a:xfrm>
              <a:off x="311050" y="6442103"/>
              <a:ext cx="644318" cy="201226"/>
              <a:chOff x="311050" y="6442103"/>
              <a:chExt cx="644318" cy="201226"/>
            </a:xfrm>
          </p:grpSpPr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E56290BD-7F13-4DDE-BE56-C3898B0E897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b="23739"/>
              <a:stretch/>
            </p:blipFill>
            <p:spPr>
              <a:xfrm>
                <a:off x="311050" y="6442103"/>
                <a:ext cx="178923" cy="19367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CDF7198B-BBF6-40D4-8081-B324F9D954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18222" t="81907" r="-1" b="-1478"/>
              <a:stretch/>
            </p:blipFill>
            <p:spPr>
              <a:xfrm>
                <a:off x="516193" y="6494148"/>
                <a:ext cx="439175" cy="149181"/>
              </a:xfrm>
              <a:prstGeom prst="rect">
                <a:avLst/>
              </a:prstGeom>
            </p:spPr>
          </p:pic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FC27ADC-EF95-40AF-97FD-D14562E662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622" t="-1152" b="22879"/>
            <a:stretch/>
          </p:blipFill>
          <p:spPr>
            <a:xfrm>
              <a:off x="307967" y="6433291"/>
              <a:ext cx="185024" cy="204281"/>
            </a:xfrm>
            <a:prstGeom prst="rect">
              <a:avLst/>
            </a:prstGeom>
          </p:spPr>
        </p:pic>
      </p:grp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D1561DB-283F-4E7E-B297-97904A9810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231660B-4D53-4E62-B1F5-975F86753D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1663F42-A643-4BC3-9F96-E74DE5B9530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3A1B5E4-555E-4C75-AC05-24B13DD53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33982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D2E6F7D-1A88-4532-84DB-77E9B81AFA62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346D649-E8BB-4C5B-B95A-E7A278EECE05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04B300-89E5-47CB-B742-E81CD5DA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4946A5-B833-422D-9070-95CDBCB48FF0}"/>
              </a:ext>
            </a:extLst>
          </p:cNvPr>
          <p:cNvGrpSpPr/>
          <p:nvPr userDrawn="1"/>
        </p:nvGrpSpPr>
        <p:grpSpPr>
          <a:xfrm>
            <a:off x="307967" y="6433291"/>
            <a:ext cx="647401" cy="210038"/>
            <a:chOff x="307967" y="6433291"/>
            <a:chExt cx="647401" cy="21003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A9EAB28-74ED-4E37-96B9-2141D2EE0376}"/>
                </a:ext>
              </a:extLst>
            </p:cNvPr>
            <p:cNvGrpSpPr/>
            <p:nvPr userDrawn="1"/>
          </p:nvGrpSpPr>
          <p:grpSpPr>
            <a:xfrm>
              <a:off x="311050" y="6442103"/>
              <a:ext cx="644318" cy="201226"/>
              <a:chOff x="311050" y="6442103"/>
              <a:chExt cx="644318" cy="201226"/>
            </a:xfrm>
          </p:grpSpPr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E56290BD-7F13-4DDE-BE56-C3898B0E897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b="23739"/>
              <a:stretch/>
            </p:blipFill>
            <p:spPr>
              <a:xfrm>
                <a:off x="311050" y="6442103"/>
                <a:ext cx="178923" cy="19367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CDF7198B-BBF6-40D4-8081-B324F9D954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18222" t="81907" r="-1" b="-1478"/>
              <a:stretch/>
            </p:blipFill>
            <p:spPr>
              <a:xfrm>
                <a:off x="516193" y="6494148"/>
                <a:ext cx="439175" cy="149181"/>
              </a:xfrm>
              <a:prstGeom prst="rect">
                <a:avLst/>
              </a:prstGeom>
            </p:spPr>
          </p:pic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FC27ADC-EF95-40AF-97FD-D14562E662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622" t="-1152" b="22879"/>
            <a:stretch/>
          </p:blipFill>
          <p:spPr>
            <a:xfrm>
              <a:off x="307967" y="6433291"/>
              <a:ext cx="185024" cy="2042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80412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89B5E47-CB68-463C-9361-4C3B12CD7B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3255" y="151287"/>
            <a:ext cx="7311587" cy="6555426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1014956"/>
            <a:ext cx="3971637" cy="243589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444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7BBA50A-AD6F-4A4A-915E-8135AF27A4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784" y="149460"/>
            <a:ext cx="7435086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2743200"/>
            <a:ext cx="4064000" cy="1896533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8784A1-1B9B-476E-A960-004F201310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11050" y="6432838"/>
            <a:ext cx="649224" cy="20367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C692B-A6E4-4849-BCC1-40DCB7E1D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6461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78FC07D-65AC-4660-8506-90B39C66A3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9007" y="149459"/>
            <a:ext cx="7665835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11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D5ED143-AB79-4888-AAD6-5454BAD1A6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345" y="153504"/>
            <a:ext cx="8630143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345986"/>
            <a:ext cx="4064000" cy="1896533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AFBF222-2089-4FC1-B3B0-347DCB00E4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11050" y="6432838"/>
            <a:ext cx="649224" cy="20367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FE6311-AAB9-4751-A715-C2B6EE2351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550355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0A0C06-3516-4945-AD0E-EE86124CC0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204" y="156323"/>
            <a:ext cx="7810308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345986"/>
            <a:ext cx="4064000" cy="1896533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3C78FA6-A4A2-496E-88D7-0C38FEF0BD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11050" y="6432838"/>
            <a:ext cx="649224" cy="20367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1083CF-F6C7-4863-B0CE-6F8833430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9958466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6B8278C-B087-4E20-8B6A-64B3FE76F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870" y="156323"/>
            <a:ext cx="7553965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345986"/>
            <a:ext cx="4064000" cy="1896533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841F7A5-A075-400C-A150-1F95AB4EFE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11050" y="6432838"/>
            <a:ext cx="649224" cy="20367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9FBD21-09BA-4020-A898-7823FAB6C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53902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ECE3C01-D472-496C-AFDE-23A16CFCFB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539" y="156323"/>
            <a:ext cx="7480310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345986"/>
            <a:ext cx="4064000" cy="1896533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2796D84-45B9-4191-876A-B5CFAB03A8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11050" y="6432838"/>
            <a:ext cx="649224" cy="20367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9DC511-5E9D-47CB-9AE3-98CC4FA44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34358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0E5F88A3-F8D0-4CA2-8951-4CB106035E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416" y="149459"/>
            <a:ext cx="6513426" cy="6556248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D26044-16CF-4756-8544-C2B928F81204}"/>
              </a:ext>
            </a:extLst>
          </p:cNvPr>
          <p:cNvSpPr/>
          <p:nvPr userDrawn="1"/>
        </p:nvSpPr>
        <p:spPr>
          <a:xfrm>
            <a:off x="0" y="-1"/>
            <a:ext cx="9746973" cy="6858001"/>
          </a:xfrm>
          <a:custGeom>
            <a:avLst/>
            <a:gdLst>
              <a:gd name="connsiteX0" fmla="*/ 3453222 w 9746973"/>
              <a:gd name="connsiteY0" fmla="*/ 0 h 6858001"/>
              <a:gd name="connsiteX1" fmla="*/ 8291612 w 9746973"/>
              <a:gd name="connsiteY1" fmla="*/ 0 h 6858001"/>
              <a:gd name="connsiteX2" fmla="*/ 8291612 w 9746973"/>
              <a:gd name="connsiteY2" fmla="*/ 38253 h 6858001"/>
              <a:gd name="connsiteX3" fmla="*/ 9746973 w 9746973"/>
              <a:gd name="connsiteY3" fmla="*/ 6858001 h 6858001"/>
              <a:gd name="connsiteX4" fmla="*/ 8283449 w 9746973"/>
              <a:gd name="connsiteY4" fmla="*/ 6858001 h 6858001"/>
              <a:gd name="connsiteX5" fmla="*/ 8283449 w 9746973"/>
              <a:gd name="connsiteY5" fmla="*/ 6858000 h 6858001"/>
              <a:gd name="connsiteX6" fmla="*/ 3528391 w 9746973"/>
              <a:gd name="connsiteY6" fmla="*/ 6858000 h 6858001"/>
              <a:gd name="connsiteX7" fmla="*/ 3528391 w 9746973"/>
              <a:gd name="connsiteY7" fmla="*/ 6858001 h 6858001"/>
              <a:gd name="connsiteX8" fmla="*/ 0 w 9746973"/>
              <a:gd name="connsiteY8" fmla="*/ 6858001 h 6858001"/>
              <a:gd name="connsiteX9" fmla="*/ 0 w 9746973"/>
              <a:gd name="connsiteY9" fmla="*/ 1 h 6858001"/>
              <a:gd name="connsiteX10" fmla="*/ 3453222 w 9746973"/>
              <a:gd name="connsiteY1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746973" h="6858001">
                <a:moveTo>
                  <a:pt x="3453222" y="0"/>
                </a:moveTo>
                <a:lnTo>
                  <a:pt x="8291612" y="0"/>
                </a:lnTo>
                <a:lnTo>
                  <a:pt x="8291612" y="38253"/>
                </a:lnTo>
                <a:lnTo>
                  <a:pt x="9746973" y="6858001"/>
                </a:lnTo>
                <a:lnTo>
                  <a:pt x="8283449" y="6858001"/>
                </a:lnTo>
                <a:lnTo>
                  <a:pt x="8283449" y="6858000"/>
                </a:lnTo>
                <a:lnTo>
                  <a:pt x="3528391" y="6858000"/>
                </a:lnTo>
                <a:lnTo>
                  <a:pt x="3528391" y="6858001"/>
                </a:lnTo>
                <a:lnTo>
                  <a:pt x="0" y="6858001"/>
                </a:lnTo>
                <a:lnTo>
                  <a:pt x="0" y="1"/>
                </a:lnTo>
                <a:lnTo>
                  <a:pt x="345322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2743200"/>
            <a:ext cx="4758266" cy="2248231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59F3F5F-479B-4621-A71B-F0DDA15D99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81A09D4-4F5A-4138-8B67-C262F5ED1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92525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7D6E7DDB-BF56-4BF8-B17C-8D281CAE10D0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7343983" cy="655624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2743200"/>
            <a:ext cx="4064000" cy="1896533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A5FBFA-AE50-4C9B-AF0C-CA114668B7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85CE34-A11E-4231-B7CE-8D0F1448B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07280" y="6485040"/>
            <a:ext cx="2377440" cy="2194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22D7B2E-A432-4805-9CD3-87FE344EE795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D46121AC-B72B-452B-B296-491FDDE0C9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4E388FA-B095-448E-B0AA-DA2E26D9EB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25243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FBFE1304-D4B2-4EE1-9A0D-C7A26296FF0A}"/>
              </a:ext>
            </a:extLst>
          </p:cNvPr>
          <p:cNvSpPr>
            <a:spLocks noChangeAspect="1"/>
          </p:cNvSpPr>
          <p:nvPr/>
        </p:nvSpPr>
        <p:spPr>
          <a:xfrm>
            <a:off x="4756858" y="152293"/>
            <a:ext cx="7277984" cy="655624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2743200"/>
            <a:ext cx="4292512" cy="2248231"/>
          </a:xfr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33DF79-C82A-4B4B-87DB-7CFD5DD92C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9CCB05-92FD-473C-8174-1CA0C518B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58840" y="6485040"/>
            <a:ext cx="1828800" cy="2194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215623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8DCEDA-4E9C-468D-95A0-670921B317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472" y="149459"/>
            <a:ext cx="11886574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35045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8E2996-D23C-4C19-8A83-E9112F7E86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59" y="149824"/>
            <a:ext cx="11249594" cy="65555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84483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99E5390-1E31-4D5F-821C-861B9B640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58" y="149632"/>
            <a:ext cx="11218597" cy="65559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5324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418FC5A-9AF1-4445-82D0-115873B5B9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764"/>
          <a:stretch/>
        </p:blipFill>
        <p:spPr>
          <a:xfrm>
            <a:off x="1980802" y="149459"/>
            <a:ext cx="10054040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6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FC210BD-1F7C-4349-B65C-2CB8896C31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60" y="149459"/>
            <a:ext cx="11211880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44935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BF87F46-AB3B-4E36-9F83-20C74B0C9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582" y="149703"/>
            <a:ext cx="11261108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63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76551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65C8094-4B0F-448F-897E-B4706A3DF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57" y="149463"/>
            <a:ext cx="11141463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8" y="149463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84787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D2E6F7D-1A88-4532-84DB-77E9B81AFA62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346D649-E8BB-4C5B-B95A-E7A278EECE05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04B300-89E5-47CB-B742-E81CD5DA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4946A5-B833-422D-9070-95CDBCB48FF0}"/>
              </a:ext>
            </a:extLst>
          </p:cNvPr>
          <p:cNvGrpSpPr/>
          <p:nvPr userDrawn="1"/>
        </p:nvGrpSpPr>
        <p:grpSpPr>
          <a:xfrm>
            <a:off x="307967" y="6433291"/>
            <a:ext cx="647401" cy="210038"/>
            <a:chOff x="307967" y="6433291"/>
            <a:chExt cx="647401" cy="21003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A9EAB28-74ED-4E37-96B9-2141D2EE0376}"/>
                </a:ext>
              </a:extLst>
            </p:cNvPr>
            <p:cNvGrpSpPr/>
            <p:nvPr userDrawn="1"/>
          </p:nvGrpSpPr>
          <p:grpSpPr>
            <a:xfrm>
              <a:off x="311050" y="6442103"/>
              <a:ext cx="644318" cy="201226"/>
              <a:chOff x="311050" y="6442103"/>
              <a:chExt cx="644318" cy="201226"/>
            </a:xfrm>
          </p:grpSpPr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E56290BD-7F13-4DDE-BE56-C3898B0E897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b="23739"/>
              <a:stretch/>
            </p:blipFill>
            <p:spPr>
              <a:xfrm>
                <a:off x="311050" y="6442103"/>
                <a:ext cx="178923" cy="19367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CDF7198B-BBF6-40D4-8081-B324F9D954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18222" t="81907" r="-1" b="-1478"/>
              <a:stretch/>
            </p:blipFill>
            <p:spPr>
              <a:xfrm>
                <a:off x="516193" y="6494148"/>
                <a:ext cx="439175" cy="149181"/>
              </a:xfrm>
              <a:prstGeom prst="rect">
                <a:avLst/>
              </a:prstGeom>
            </p:spPr>
          </p:pic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FC27ADC-EF95-40AF-97FD-D14562E662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622" t="-1152" b="22879"/>
            <a:stretch/>
          </p:blipFill>
          <p:spPr>
            <a:xfrm>
              <a:off x="307967" y="6433291"/>
              <a:ext cx="185024" cy="2042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47378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A9231FF0-99C2-4F2B-9DA2-FA07526516F4}"/>
              </a:ext>
            </a:extLst>
          </p:cNvPr>
          <p:cNvSpPr>
            <a:spLocks/>
          </p:cNvSpPr>
          <p:nvPr/>
        </p:nvSpPr>
        <p:spPr>
          <a:xfrm>
            <a:off x="152400" y="149459"/>
            <a:ext cx="11887200" cy="6556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2E404-7408-46E9-BCA3-D1AC016B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27489-F1A5-4AAB-9FDA-8A573FEAB26C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125095-F865-4398-8265-3A88749668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CEBFE5-095E-41C9-9117-29E48FCCFC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DE83D159-7AAB-44D3-BF0A-266EB1F4004B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1661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F3B2A0E-4639-4D15-BF28-838C5FE94757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FAD38-17A3-4768-AE21-DCD57702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62FD9C3-3D06-4B1C-BE0A-88A1A26D2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050" y="6442163"/>
            <a:ext cx="649224" cy="194767"/>
          </a:xfrm>
          <a:prstGeom prst="rect">
            <a:avLst/>
          </a:prstGeom>
        </p:spPr>
      </p:pic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F6F6E9E-AA67-454E-81EF-9DEE94B6F3C3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9662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CFD30A-B05F-461C-AC3D-7F3E37EB7D1A}"/>
              </a:ext>
            </a:extLst>
          </p:cNvPr>
          <p:cNvSpPr>
            <a:spLocks noChangeAspect="1"/>
          </p:cNvSpPr>
          <p:nvPr userDrawn="1"/>
        </p:nvSpPr>
        <p:spPr>
          <a:xfrm>
            <a:off x="11264793" y="150876"/>
            <a:ext cx="770048" cy="3570519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978176 w 2108203"/>
              <a:gd name="connsiteY6" fmla="*/ 6177404 h 6179063"/>
              <a:gd name="connsiteX7" fmla="*/ 1295401 w 2108203"/>
              <a:gd name="connsiteY7" fmla="*/ 6179063 h 6179063"/>
              <a:gd name="connsiteX8" fmla="*/ 1282703 w 2108203"/>
              <a:gd name="connsiteY8" fmla="*/ 6179063 h 6179063"/>
              <a:gd name="connsiteX9" fmla="*/ 1282703 w 2108203"/>
              <a:gd name="connsiteY9" fmla="*/ 6118499 h 6179063"/>
              <a:gd name="connsiteX10" fmla="*/ 0 w 2108203"/>
              <a:gd name="connsiteY10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1978176 w 2108203"/>
              <a:gd name="connsiteY5" fmla="*/ 6177404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1282703 w 1978176"/>
              <a:gd name="connsiteY7" fmla="*/ 6118499 h 6179063"/>
              <a:gd name="connsiteX8" fmla="*/ 0 w 1978176"/>
              <a:gd name="connsiteY8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0 w 1978176"/>
              <a:gd name="connsiteY7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0 w 1978176"/>
              <a:gd name="connsiteY6" fmla="*/ 513 h 6179063"/>
              <a:gd name="connsiteX0" fmla="*/ 0 w 1978176"/>
              <a:gd name="connsiteY0" fmla="*/ 513 h 6177404"/>
              <a:gd name="connsiteX1" fmla="*/ 1282703 w 1978176"/>
              <a:gd name="connsiteY1" fmla="*/ 513 h 6177404"/>
              <a:gd name="connsiteX2" fmla="*/ 1295401 w 1978176"/>
              <a:gd name="connsiteY2" fmla="*/ 513 h 6177404"/>
              <a:gd name="connsiteX3" fmla="*/ 1972323 w 1978176"/>
              <a:gd name="connsiteY3" fmla="*/ 0 h 6177404"/>
              <a:gd name="connsiteX4" fmla="*/ 1978176 w 1978176"/>
              <a:gd name="connsiteY4" fmla="*/ 6177404 h 6177404"/>
              <a:gd name="connsiteX5" fmla="*/ 0 w 1978176"/>
              <a:gd name="connsiteY5" fmla="*/ 513 h 6177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8176" h="6177404">
                <a:moveTo>
                  <a:pt x="0" y="513"/>
                </a:moveTo>
                <a:lnTo>
                  <a:pt x="1282703" y="513"/>
                </a:lnTo>
                <a:lnTo>
                  <a:pt x="1295401" y="513"/>
                </a:lnTo>
                <a:lnTo>
                  <a:pt x="1972323" y="0"/>
                </a:lnTo>
                <a:lnTo>
                  <a:pt x="1978176" y="6177404"/>
                </a:lnTo>
                <a:lnTo>
                  <a:pt x="0" y="513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rgbClr val="40404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556516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53169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89B5E47-CB68-463C-9361-4C3B12CD7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4072" y="149459"/>
            <a:ext cx="7309953" cy="6559082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7429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1040357-5BCE-4EBD-9BDF-F88730FA6C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8566" y="149459"/>
            <a:ext cx="7305826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11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1040357-5BCE-4EBD-9BDF-F88730FA6C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8566" y="149459"/>
            <a:ext cx="7305826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1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B39A81-E3B8-48E2-9CB3-4A98EFE84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4100" y="150139"/>
            <a:ext cx="7170741" cy="6554887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581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91496C4-D41A-4213-8C8F-AE1F7FB448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501"/>
          <a:stretch/>
        </p:blipFill>
        <p:spPr>
          <a:xfrm>
            <a:off x="4544084" y="149459"/>
            <a:ext cx="7490758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6074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F56F330-2539-4614-BDE1-9DD85B277A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792" y="149460"/>
            <a:ext cx="7263454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7A5F0B-73B1-44C9-9169-DBC403315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FECCEF7-3C36-4132-AD7C-4011FCE1D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59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0A0C06-3516-4945-AD0E-EE86124CC0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59" y="156323"/>
            <a:ext cx="7812398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F008B5-94E7-41EA-84A0-448E4323B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5AEFB2-309E-4D5C-9461-53CF89033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807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6B8278C-B087-4E20-8B6A-64B3FE76F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24" y="156323"/>
            <a:ext cx="9805932" cy="6181344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8448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9A330-80CF-4A6B-AB33-7DE82FFE0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317EE3-6760-4879-8FB9-E8E2F1F77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E9748E6-DBA7-4602-A2BE-375E2C08C9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2443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0E5F88A3-F8D0-4CA2-8951-4CB106035E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416" y="149459"/>
            <a:ext cx="6513426" cy="6556248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D26044-16CF-4756-8544-C2B928F81204}"/>
              </a:ext>
            </a:extLst>
          </p:cNvPr>
          <p:cNvSpPr/>
          <p:nvPr userDrawn="1"/>
        </p:nvSpPr>
        <p:spPr>
          <a:xfrm>
            <a:off x="0" y="-1"/>
            <a:ext cx="9746973" cy="6858001"/>
          </a:xfrm>
          <a:custGeom>
            <a:avLst/>
            <a:gdLst>
              <a:gd name="connsiteX0" fmla="*/ 3453222 w 9746973"/>
              <a:gd name="connsiteY0" fmla="*/ 0 h 6858001"/>
              <a:gd name="connsiteX1" fmla="*/ 8291612 w 9746973"/>
              <a:gd name="connsiteY1" fmla="*/ 0 h 6858001"/>
              <a:gd name="connsiteX2" fmla="*/ 8291612 w 9746973"/>
              <a:gd name="connsiteY2" fmla="*/ 38253 h 6858001"/>
              <a:gd name="connsiteX3" fmla="*/ 9746973 w 9746973"/>
              <a:gd name="connsiteY3" fmla="*/ 6858001 h 6858001"/>
              <a:gd name="connsiteX4" fmla="*/ 8283449 w 9746973"/>
              <a:gd name="connsiteY4" fmla="*/ 6858001 h 6858001"/>
              <a:gd name="connsiteX5" fmla="*/ 8283449 w 9746973"/>
              <a:gd name="connsiteY5" fmla="*/ 6858000 h 6858001"/>
              <a:gd name="connsiteX6" fmla="*/ 3528391 w 9746973"/>
              <a:gd name="connsiteY6" fmla="*/ 6858000 h 6858001"/>
              <a:gd name="connsiteX7" fmla="*/ 3528391 w 9746973"/>
              <a:gd name="connsiteY7" fmla="*/ 6858001 h 6858001"/>
              <a:gd name="connsiteX8" fmla="*/ 0 w 9746973"/>
              <a:gd name="connsiteY8" fmla="*/ 6858001 h 6858001"/>
              <a:gd name="connsiteX9" fmla="*/ 0 w 9746973"/>
              <a:gd name="connsiteY9" fmla="*/ 1 h 6858001"/>
              <a:gd name="connsiteX10" fmla="*/ 3453222 w 9746973"/>
              <a:gd name="connsiteY1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746973" h="6858001">
                <a:moveTo>
                  <a:pt x="3453222" y="0"/>
                </a:moveTo>
                <a:lnTo>
                  <a:pt x="8291612" y="0"/>
                </a:lnTo>
                <a:lnTo>
                  <a:pt x="8291612" y="38253"/>
                </a:lnTo>
                <a:lnTo>
                  <a:pt x="9746973" y="6858001"/>
                </a:lnTo>
                <a:lnTo>
                  <a:pt x="8283449" y="6858001"/>
                </a:lnTo>
                <a:lnTo>
                  <a:pt x="8283449" y="6858000"/>
                </a:lnTo>
                <a:lnTo>
                  <a:pt x="3528391" y="6858000"/>
                </a:lnTo>
                <a:lnTo>
                  <a:pt x="3528391" y="6858001"/>
                </a:lnTo>
                <a:lnTo>
                  <a:pt x="0" y="6858001"/>
                </a:lnTo>
                <a:lnTo>
                  <a:pt x="0" y="1"/>
                </a:lnTo>
                <a:lnTo>
                  <a:pt x="345322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463040"/>
            <a:ext cx="4758266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59F3F5F-479B-4621-A71B-F0DDA15D99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81A09D4-4F5A-4138-8B67-C262F5ED1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10CF74E-4ADF-42A1-97BE-E847B5204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2574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56BFAA9-00F7-4F94-B4D6-57FC5D303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4560" y="149459"/>
            <a:ext cx="3829228" cy="6556248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D26044-16CF-4756-8544-C2B928F81204}"/>
              </a:ext>
            </a:extLst>
          </p:cNvPr>
          <p:cNvSpPr/>
          <p:nvPr userDrawn="1"/>
        </p:nvSpPr>
        <p:spPr>
          <a:xfrm>
            <a:off x="0" y="-1"/>
            <a:ext cx="9746973" cy="6858001"/>
          </a:xfrm>
          <a:custGeom>
            <a:avLst/>
            <a:gdLst>
              <a:gd name="connsiteX0" fmla="*/ 3453222 w 9746973"/>
              <a:gd name="connsiteY0" fmla="*/ 0 h 6858001"/>
              <a:gd name="connsiteX1" fmla="*/ 8291612 w 9746973"/>
              <a:gd name="connsiteY1" fmla="*/ 0 h 6858001"/>
              <a:gd name="connsiteX2" fmla="*/ 8291612 w 9746973"/>
              <a:gd name="connsiteY2" fmla="*/ 38253 h 6858001"/>
              <a:gd name="connsiteX3" fmla="*/ 9746973 w 9746973"/>
              <a:gd name="connsiteY3" fmla="*/ 6858001 h 6858001"/>
              <a:gd name="connsiteX4" fmla="*/ 8283449 w 9746973"/>
              <a:gd name="connsiteY4" fmla="*/ 6858001 h 6858001"/>
              <a:gd name="connsiteX5" fmla="*/ 8283449 w 9746973"/>
              <a:gd name="connsiteY5" fmla="*/ 6858000 h 6858001"/>
              <a:gd name="connsiteX6" fmla="*/ 3528391 w 9746973"/>
              <a:gd name="connsiteY6" fmla="*/ 6858000 h 6858001"/>
              <a:gd name="connsiteX7" fmla="*/ 3528391 w 9746973"/>
              <a:gd name="connsiteY7" fmla="*/ 6858001 h 6858001"/>
              <a:gd name="connsiteX8" fmla="*/ 0 w 9746973"/>
              <a:gd name="connsiteY8" fmla="*/ 6858001 h 6858001"/>
              <a:gd name="connsiteX9" fmla="*/ 0 w 9746973"/>
              <a:gd name="connsiteY9" fmla="*/ 1 h 6858001"/>
              <a:gd name="connsiteX10" fmla="*/ 3453222 w 9746973"/>
              <a:gd name="connsiteY1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746973" h="6858001">
                <a:moveTo>
                  <a:pt x="3453222" y="0"/>
                </a:moveTo>
                <a:lnTo>
                  <a:pt x="8291612" y="0"/>
                </a:lnTo>
                <a:lnTo>
                  <a:pt x="8291612" y="38253"/>
                </a:lnTo>
                <a:lnTo>
                  <a:pt x="9746973" y="6858001"/>
                </a:lnTo>
                <a:lnTo>
                  <a:pt x="8283449" y="6858001"/>
                </a:lnTo>
                <a:lnTo>
                  <a:pt x="8283449" y="6858000"/>
                </a:lnTo>
                <a:lnTo>
                  <a:pt x="3528391" y="6858000"/>
                </a:lnTo>
                <a:lnTo>
                  <a:pt x="3528391" y="6858001"/>
                </a:lnTo>
                <a:lnTo>
                  <a:pt x="0" y="6858001"/>
                </a:lnTo>
                <a:lnTo>
                  <a:pt x="0" y="1"/>
                </a:lnTo>
                <a:lnTo>
                  <a:pt x="345322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463040"/>
            <a:ext cx="4758266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59F3F5F-479B-4621-A71B-F0DDA15D99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81A09D4-4F5A-4138-8B67-C262F5ED1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10CF74E-4ADF-42A1-97BE-E847B5204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365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4C7E45-D745-4A53-9E81-946D9A2B42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0700" y="150391"/>
            <a:ext cx="3894142" cy="6554384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AD26044-16CF-4756-8544-C2B928F81204}"/>
              </a:ext>
            </a:extLst>
          </p:cNvPr>
          <p:cNvSpPr/>
          <p:nvPr userDrawn="1"/>
        </p:nvSpPr>
        <p:spPr>
          <a:xfrm>
            <a:off x="0" y="-1"/>
            <a:ext cx="9746973" cy="6858001"/>
          </a:xfrm>
          <a:custGeom>
            <a:avLst/>
            <a:gdLst>
              <a:gd name="connsiteX0" fmla="*/ 3453222 w 9746973"/>
              <a:gd name="connsiteY0" fmla="*/ 0 h 6858001"/>
              <a:gd name="connsiteX1" fmla="*/ 8291612 w 9746973"/>
              <a:gd name="connsiteY1" fmla="*/ 0 h 6858001"/>
              <a:gd name="connsiteX2" fmla="*/ 8291612 w 9746973"/>
              <a:gd name="connsiteY2" fmla="*/ 38253 h 6858001"/>
              <a:gd name="connsiteX3" fmla="*/ 9746973 w 9746973"/>
              <a:gd name="connsiteY3" fmla="*/ 6858001 h 6858001"/>
              <a:gd name="connsiteX4" fmla="*/ 8283449 w 9746973"/>
              <a:gd name="connsiteY4" fmla="*/ 6858001 h 6858001"/>
              <a:gd name="connsiteX5" fmla="*/ 8283449 w 9746973"/>
              <a:gd name="connsiteY5" fmla="*/ 6858000 h 6858001"/>
              <a:gd name="connsiteX6" fmla="*/ 3528391 w 9746973"/>
              <a:gd name="connsiteY6" fmla="*/ 6858000 h 6858001"/>
              <a:gd name="connsiteX7" fmla="*/ 3528391 w 9746973"/>
              <a:gd name="connsiteY7" fmla="*/ 6858001 h 6858001"/>
              <a:gd name="connsiteX8" fmla="*/ 0 w 9746973"/>
              <a:gd name="connsiteY8" fmla="*/ 6858001 h 6858001"/>
              <a:gd name="connsiteX9" fmla="*/ 0 w 9746973"/>
              <a:gd name="connsiteY9" fmla="*/ 1 h 6858001"/>
              <a:gd name="connsiteX10" fmla="*/ 3453222 w 9746973"/>
              <a:gd name="connsiteY10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746973" h="6858001">
                <a:moveTo>
                  <a:pt x="3453222" y="0"/>
                </a:moveTo>
                <a:lnTo>
                  <a:pt x="8291612" y="0"/>
                </a:lnTo>
                <a:lnTo>
                  <a:pt x="8291612" y="38253"/>
                </a:lnTo>
                <a:lnTo>
                  <a:pt x="9746973" y="6858001"/>
                </a:lnTo>
                <a:lnTo>
                  <a:pt x="8283449" y="6858001"/>
                </a:lnTo>
                <a:lnTo>
                  <a:pt x="8283449" y="6858000"/>
                </a:lnTo>
                <a:lnTo>
                  <a:pt x="3528391" y="6858000"/>
                </a:lnTo>
                <a:lnTo>
                  <a:pt x="3528391" y="6858001"/>
                </a:lnTo>
                <a:lnTo>
                  <a:pt x="0" y="6858001"/>
                </a:lnTo>
                <a:lnTo>
                  <a:pt x="0" y="1"/>
                </a:lnTo>
                <a:lnTo>
                  <a:pt x="345322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463040"/>
            <a:ext cx="4758266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59F3F5F-479B-4621-A71B-F0DDA15D99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81A09D4-4F5A-4138-8B67-C262F5ED1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10CF74E-4ADF-42A1-97BE-E847B5204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375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7D6E7DDB-BF56-4BF8-B17C-8D281CAE10D0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7343983" cy="655624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FA1BF20-D3AD-4B06-9876-024FB5A8BC77}"/>
              </a:ext>
            </a:extLst>
          </p:cNvPr>
          <p:cNvSpPr/>
          <p:nvPr userDrawn="1"/>
        </p:nvSpPr>
        <p:spPr>
          <a:xfrm flipH="1" flipV="1">
            <a:off x="5898248" y="-1"/>
            <a:ext cx="6293751" cy="6858001"/>
          </a:xfrm>
          <a:custGeom>
            <a:avLst/>
            <a:gdLst>
              <a:gd name="connsiteX0" fmla="*/ 6293751 w 6293751"/>
              <a:gd name="connsiteY0" fmla="*/ 6858001 h 6858001"/>
              <a:gd name="connsiteX1" fmla="*/ 4830227 w 6293751"/>
              <a:gd name="connsiteY1" fmla="*/ 6858001 h 6858001"/>
              <a:gd name="connsiteX2" fmla="*/ 4830227 w 6293751"/>
              <a:gd name="connsiteY2" fmla="*/ 6858000 h 6858001"/>
              <a:gd name="connsiteX3" fmla="*/ 0 w 6293751"/>
              <a:gd name="connsiteY3" fmla="*/ 6858000 h 6858001"/>
              <a:gd name="connsiteX4" fmla="*/ 0 w 6293751"/>
              <a:gd name="connsiteY4" fmla="*/ 0 h 6858001"/>
              <a:gd name="connsiteX5" fmla="*/ 4838390 w 6293751"/>
              <a:gd name="connsiteY5" fmla="*/ 0 h 6858001"/>
              <a:gd name="connsiteX6" fmla="*/ 4838390 w 6293751"/>
              <a:gd name="connsiteY6" fmla="*/ 3825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3751" h="6858001">
                <a:moveTo>
                  <a:pt x="6293751" y="6858001"/>
                </a:moveTo>
                <a:lnTo>
                  <a:pt x="4830227" y="6858001"/>
                </a:lnTo>
                <a:lnTo>
                  <a:pt x="4830227" y="6858000"/>
                </a:lnTo>
                <a:lnTo>
                  <a:pt x="0" y="6858000"/>
                </a:lnTo>
                <a:lnTo>
                  <a:pt x="0" y="0"/>
                </a:lnTo>
                <a:lnTo>
                  <a:pt x="4838390" y="0"/>
                </a:lnTo>
                <a:lnTo>
                  <a:pt x="4838390" y="38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0" y="1297173"/>
            <a:ext cx="4064000" cy="1896533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A5FBFA-AE50-4C9B-AF0C-CA114668B7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85CE34-A11E-4231-B7CE-8D0F1448B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07280" y="6485040"/>
            <a:ext cx="2377440" cy="2194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22D7B2E-A432-4805-9CD3-87FE344EE795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D46121AC-B72B-452B-B296-491FDDE0C9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4E388FA-B095-448E-B0AA-DA2E26D9EB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2082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FBFE1304-D4B2-4EE1-9A0D-C7A26296FF0A}"/>
              </a:ext>
            </a:extLst>
          </p:cNvPr>
          <p:cNvSpPr>
            <a:spLocks noChangeAspect="1"/>
          </p:cNvSpPr>
          <p:nvPr/>
        </p:nvSpPr>
        <p:spPr>
          <a:xfrm>
            <a:off x="4756858" y="152293"/>
            <a:ext cx="7277984" cy="655624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4" y="1280160"/>
            <a:ext cx="4008900" cy="2248231"/>
          </a:xfrm>
        </p:spPr>
        <p:txBody>
          <a:bodyPr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600" kern="1200" spc="-14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33DF79-C82A-4B4B-87DB-7CFD5DD92C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9CCB05-92FD-473C-8174-1CA0C518B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58840" y="6485040"/>
            <a:ext cx="1828800" cy="2194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869452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B39A81-E3B8-48E2-9CB3-4A98EFE84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4100" y="150139"/>
            <a:ext cx="7170741" cy="6554887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58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8E2996-D23C-4C19-8A83-E9112F7E86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59" y="149824"/>
            <a:ext cx="11249594" cy="65555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8317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FC210BD-1F7C-4349-B65C-2CB8896C31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60" y="149459"/>
            <a:ext cx="11211880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9" y="149459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2906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65C8094-4B0F-448F-897E-B4706A3DF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57" y="149463"/>
            <a:ext cx="11141463" cy="655624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C70934D-8627-4FFF-B271-7D810F4269A8}"/>
              </a:ext>
            </a:extLst>
          </p:cNvPr>
          <p:cNvSpPr>
            <a:spLocks noChangeAspect="1"/>
          </p:cNvSpPr>
          <p:nvPr userDrawn="1"/>
        </p:nvSpPr>
        <p:spPr>
          <a:xfrm>
            <a:off x="157158" y="149463"/>
            <a:ext cx="11544413" cy="6556248"/>
          </a:xfrm>
          <a:prstGeom prst="rect">
            <a:avLst/>
          </a:prstGeom>
          <a:gradFill flip="none" rotWithShape="1">
            <a:gsLst>
              <a:gs pos="0">
                <a:srgbClr val="159ADF">
                  <a:alpha val="85000"/>
                </a:srgbClr>
              </a:gs>
              <a:gs pos="70000">
                <a:srgbClr val="4134B5">
                  <a:alpha val="80000"/>
                </a:srgbClr>
              </a:gs>
              <a:gs pos="30000">
                <a:srgbClr val="2454C9">
                  <a:alpha val="85000"/>
                </a:srgbClr>
              </a:gs>
              <a:gs pos="50000">
                <a:srgbClr val="293FC3">
                  <a:alpha val="75000"/>
                </a:srgbClr>
              </a:gs>
              <a:gs pos="100000">
                <a:srgbClr val="662DA1">
                  <a:alpha val="85000"/>
                </a:srgb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C6BF9-2388-4D75-ABB8-6D3088780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1014956"/>
            <a:ext cx="7924800" cy="3850554"/>
          </a:xfrm>
        </p:spPr>
        <p:txBody>
          <a:bodyPr lIns="0" tIns="0" rIns="0" bIns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kern="1200" spc="-14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6AE7406-AA52-4290-9748-C6178B34583E}"/>
              </a:ext>
            </a:extLst>
          </p:cNvPr>
          <p:cNvSpPr/>
          <p:nvPr userDrawn="1"/>
        </p:nvSpPr>
        <p:spPr>
          <a:xfrm>
            <a:off x="9849553" y="0"/>
            <a:ext cx="2342448" cy="6858000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8203" h="6178550">
                <a:moveTo>
                  <a:pt x="0" y="0"/>
                </a:moveTo>
                <a:lnTo>
                  <a:pt x="1282703" y="0"/>
                </a:lnTo>
                <a:lnTo>
                  <a:pt x="1295401" y="0"/>
                </a:lnTo>
                <a:lnTo>
                  <a:pt x="2108203" y="0"/>
                </a:lnTo>
                <a:lnTo>
                  <a:pt x="2108203" y="6178550"/>
                </a:lnTo>
                <a:lnTo>
                  <a:pt x="1295401" y="6178550"/>
                </a:lnTo>
                <a:lnTo>
                  <a:pt x="1282703" y="6178550"/>
                </a:lnTo>
                <a:lnTo>
                  <a:pt x="1282703" y="61179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99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6D47759-6690-4158-81A6-32D8FEFAE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967E69-60DC-4A74-B764-6793AADC8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98AD8-59CE-460A-B746-9AA03894B8CE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75D7CE1-0B48-48A1-8757-2A5ED301D7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3A91F20-570E-4D81-9F30-95E0645414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1598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CFD30A-B05F-461C-AC3D-7F3E37EB7D1A}"/>
              </a:ext>
            </a:extLst>
          </p:cNvPr>
          <p:cNvSpPr>
            <a:spLocks noChangeAspect="1"/>
          </p:cNvSpPr>
          <p:nvPr userDrawn="1"/>
        </p:nvSpPr>
        <p:spPr>
          <a:xfrm>
            <a:off x="11264793" y="150876"/>
            <a:ext cx="770048" cy="3570519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978176 w 2108203"/>
              <a:gd name="connsiteY6" fmla="*/ 6177404 h 6179063"/>
              <a:gd name="connsiteX7" fmla="*/ 1295401 w 2108203"/>
              <a:gd name="connsiteY7" fmla="*/ 6179063 h 6179063"/>
              <a:gd name="connsiteX8" fmla="*/ 1282703 w 2108203"/>
              <a:gd name="connsiteY8" fmla="*/ 6179063 h 6179063"/>
              <a:gd name="connsiteX9" fmla="*/ 1282703 w 2108203"/>
              <a:gd name="connsiteY9" fmla="*/ 6118499 h 6179063"/>
              <a:gd name="connsiteX10" fmla="*/ 0 w 2108203"/>
              <a:gd name="connsiteY10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1978176 w 2108203"/>
              <a:gd name="connsiteY5" fmla="*/ 6177404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1282703 w 1978176"/>
              <a:gd name="connsiteY7" fmla="*/ 6118499 h 6179063"/>
              <a:gd name="connsiteX8" fmla="*/ 0 w 1978176"/>
              <a:gd name="connsiteY8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0 w 1978176"/>
              <a:gd name="connsiteY7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0 w 1978176"/>
              <a:gd name="connsiteY6" fmla="*/ 513 h 6179063"/>
              <a:gd name="connsiteX0" fmla="*/ 0 w 1978176"/>
              <a:gd name="connsiteY0" fmla="*/ 513 h 6177404"/>
              <a:gd name="connsiteX1" fmla="*/ 1282703 w 1978176"/>
              <a:gd name="connsiteY1" fmla="*/ 513 h 6177404"/>
              <a:gd name="connsiteX2" fmla="*/ 1295401 w 1978176"/>
              <a:gd name="connsiteY2" fmla="*/ 513 h 6177404"/>
              <a:gd name="connsiteX3" fmla="*/ 1972323 w 1978176"/>
              <a:gd name="connsiteY3" fmla="*/ 0 h 6177404"/>
              <a:gd name="connsiteX4" fmla="*/ 1978176 w 1978176"/>
              <a:gd name="connsiteY4" fmla="*/ 6177404 h 6177404"/>
              <a:gd name="connsiteX5" fmla="*/ 0 w 1978176"/>
              <a:gd name="connsiteY5" fmla="*/ 513 h 6177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8176" h="6177404">
                <a:moveTo>
                  <a:pt x="0" y="513"/>
                </a:moveTo>
                <a:lnTo>
                  <a:pt x="1282703" y="513"/>
                </a:lnTo>
                <a:lnTo>
                  <a:pt x="1295401" y="513"/>
                </a:lnTo>
                <a:lnTo>
                  <a:pt x="1972323" y="0"/>
                </a:lnTo>
                <a:lnTo>
                  <a:pt x="1978176" y="6177404"/>
                </a:lnTo>
                <a:lnTo>
                  <a:pt x="0" y="513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rgbClr val="40404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921965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CFD30A-B05F-461C-AC3D-7F3E37EB7D1A}"/>
              </a:ext>
            </a:extLst>
          </p:cNvPr>
          <p:cNvSpPr>
            <a:spLocks noChangeAspect="1"/>
          </p:cNvSpPr>
          <p:nvPr userDrawn="1"/>
        </p:nvSpPr>
        <p:spPr>
          <a:xfrm>
            <a:off x="11264793" y="150876"/>
            <a:ext cx="770048" cy="3570519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978176 w 2108203"/>
              <a:gd name="connsiteY6" fmla="*/ 6177404 h 6179063"/>
              <a:gd name="connsiteX7" fmla="*/ 1295401 w 2108203"/>
              <a:gd name="connsiteY7" fmla="*/ 6179063 h 6179063"/>
              <a:gd name="connsiteX8" fmla="*/ 1282703 w 2108203"/>
              <a:gd name="connsiteY8" fmla="*/ 6179063 h 6179063"/>
              <a:gd name="connsiteX9" fmla="*/ 1282703 w 2108203"/>
              <a:gd name="connsiteY9" fmla="*/ 6118499 h 6179063"/>
              <a:gd name="connsiteX10" fmla="*/ 0 w 2108203"/>
              <a:gd name="connsiteY10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1978176 w 2108203"/>
              <a:gd name="connsiteY5" fmla="*/ 6177404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1282703 w 1978176"/>
              <a:gd name="connsiteY7" fmla="*/ 6118499 h 6179063"/>
              <a:gd name="connsiteX8" fmla="*/ 0 w 1978176"/>
              <a:gd name="connsiteY8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0 w 1978176"/>
              <a:gd name="connsiteY7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0 w 1978176"/>
              <a:gd name="connsiteY6" fmla="*/ 513 h 6179063"/>
              <a:gd name="connsiteX0" fmla="*/ 0 w 1978176"/>
              <a:gd name="connsiteY0" fmla="*/ 513 h 6177404"/>
              <a:gd name="connsiteX1" fmla="*/ 1282703 w 1978176"/>
              <a:gd name="connsiteY1" fmla="*/ 513 h 6177404"/>
              <a:gd name="connsiteX2" fmla="*/ 1295401 w 1978176"/>
              <a:gd name="connsiteY2" fmla="*/ 513 h 6177404"/>
              <a:gd name="connsiteX3" fmla="*/ 1972323 w 1978176"/>
              <a:gd name="connsiteY3" fmla="*/ 0 h 6177404"/>
              <a:gd name="connsiteX4" fmla="*/ 1978176 w 1978176"/>
              <a:gd name="connsiteY4" fmla="*/ 6177404 h 6177404"/>
              <a:gd name="connsiteX5" fmla="*/ 0 w 1978176"/>
              <a:gd name="connsiteY5" fmla="*/ 513 h 6177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8176" h="6177404">
                <a:moveTo>
                  <a:pt x="0" y="513"/>
                </a:moveTo>
                <a:lnTo>
                  <a:pt x="1282703" y="513"/>
                </a:lnTo>
                <a:lnTo>
                  <a:pt x="1295401" y="513"/>
                </a:lnTo>
                <a:lnTo>
                  <a:pt x="1972323" y="0"/>
                </a:lnTo>
                <a:lnTo>
                  <a:pt x="1978176" y="6177404"/>
                </a:lnTo>
                <a:lnTo>
                  <a:pt x="0" y="513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rgbClr val="40404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11C706-9B9E-40CB-9ECF-9A1AAAC462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9016883-4BEF-4E7E-8CD4-AF296E83C49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E1EBC07E-42F0-4338-AF3E-D3836916F8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900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1CFD30A-B05F-461C-AC3D-7F3E37EB7D1A}"/>
              </a:ext>
            </a:extLst>
          </p:cNvPr>
          <p:cNvSpPr>
            <a:spLocks noChangeAspect="1"/>
          </p:cNvSpPr>
          <p:nvPr userDrawn="1"/>
        </p:nvSpPr>
        <p:spPr>
          <a:xfrm>
            <a:off x="11264793" y="150876"/>
            <a:ext cx="770048" cy="3570519"/>
          </a:xfrm>
          <a:custGeom>
            <a:avLst/>
            <a:gdLst>
              <a:gd name="connsiteX0" fmla="*/ 0 w 2108203"/>
              <a:gd name="connsiteY0" fmla="*/ 0 h 6178550"/>
              <a:gd name="connsiteX1" fmla="*/ 1282703 w 2108203"/>
              <a:gd name="connsiteY1" fmla="*/ 0 h 6178550"/>
              <a:gd name="connsiteX2" fmla="*/ 1295401 w 2108203"/>
              <a:gd name="connsiteY2" fmla="*/ 0 h 6178550"/>
              <a:gd name="connsiteX3" fmla="*/ 2108203 w 2108203"/>
              <a:gd name="connsiteY3" fmla="*/ 0 h 6178550"/>
              <a:gd name="connsiteX4" fmla="*/ 2108203 w 2108203"/>
              <a:gd name="connsiteY4" fmla="*/ 6178550 h 6178550"/>
              <a:gd name="connsiteX5" fmla="*/ 1295401 w 2108203"/>
              <a:gd name="connsiteY5" fmla="*/ 6178550 h 6178550"/>
              <a:gd name="connsiteX6" fmla="*/ 1282703 w 2108203"/>
              <a:gd name="connsiteY6" fmla="*/ 6178550 h 6178550"/>
              <a:gd name="connsiteX7" fmla="*/ 1282703 w 2108203"/>
              <a:gd name="connsiteY7" fmla="*/ 6117986 h 6178550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2108203 w 2108203"/>
              <a:gd name="connsiteY5" fmla="*/ 6179063 h 6179063"/>
              <a:gd name="connsiteX6" fmla="*/ 1978176 w 2108203"/>
              <a:gd name="connsiteY6" fmla="*/ 6177404 h 6179063"/>
              <a:gd name="connsiteX7" fmla="*/ 1295401 w 2108203"/>
              <a:gd name="connsiteY7" fmla="*/ 6179063 h 6179063"/>
              <a:gd name="connsiteX8" fmla="*/ 1282703 w 2108203"/>
              <a:gd name="connsiteY8" fmla="*/ 6179063 h 6179063"/>
              <a:gd name="connsiteX9" fmla="*/ 1282703 w 2108203"/>
              <a:gd name="connsiteY9" fmla="*/ 6118499 h 6179063"/>
              <a:gd name="connsiteX10" fmla="*/ 0 w 2108203"/>
              <a:gd name="connsiteY10" fmla="*/ 513 h 6179063"/>
              <a:gd name="connsiteX0" fmla="*/ 0 w 2108203"/>
              <a:gd name="connsiteY0" fmla="*/ 513 h 6179063"/>
              <a:gd name="connsiteX1" fmla="*/ 1282703 w 2108203"/>
              <a:gd name="connsiteY1" fmla="*/ 513 h 6179063"/>
              <a:gd name="connsiteX2" fmla="*/ 1295401 w 2108203"/>
              <a:gd name="connsiteY2" fmla="*/ 513 h 6179063"/>
              <a:gd name="connsiteX3" fmla="*/ 1972323 w 2108203"/>
              <a:gd name="connsiteY3" fmla="*/ 0 h 6179063"/>
              <a:gd name="connsiteX4" fmla="*/ 2108203 w 2108203"/>
              <a:gd name="connsiteY4" fmla="*/ 513 h 6179063"/>
              <a:gd name="connsiteX5" fmla="*/ 1978176 w 2108203"/>
              <a:gd name="connsiteY5" fmla="*/ 6177404 h 6179063"/>
              <a:gd name="connsiteX6" fmla="*/ 1295401 w 2108203"/>
              <a:gd name="connsiteY6" fmla="*/ 6179063 h 6179063"/>
              <a:gd name="connsiteX7" fmla="*/ 1282703 w 2108203"/>
              <a:gd name="connsiteY7" fmla="*/ 6179063 h 6179063"/>
              <a:gd name="connsiteX8" fmla="*/ 1282703 w 2108203"/>
              <a:gd name="connsiteY8" fmla="*/ 6118499 h 6179063"/>
              <a:gd name="connsiteX9" fmla="*/ 0 w 2108203"/>
              <a:gd name="connsiteY9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1282703 w 1978176"/>
              <a:gd name="connsiteY7" fmla="*/ 6118499 h 6179063"/>
              <a:gd name="connsiteX8" fmla="*/ 0 w 1978176"/>
              <a:gd name="connsiteY8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1282703 w 1978176"/>
              <a:gd name="connsiteY6" fmla="*/ 6179063 h 6179063"/>
              <a:gd name="connsiteX7" fmla="*/ 0 w 1978176"/>
              <a:gd name="connsiteY7" fmla="*/ 513 h 6179063"/>
              <a:gd name="connsiteX0" fmla="*/ 0 w 1978176"/>
              <a:gd name="connsiteY0" fmla="*/ 513 h 6179063"/>
              <a:gd name="connsiteX1" fmla="*/ 1282703 w 1978176"/>
              <a:gd name="connsiteY1" fmla="*/ 513 h 6179063"/>
              <a:gd name="connsiteX2" fmla="*/ 1295401 w 1978176"/>
              <a:gd name="connsiteY2" fmla="*/ 513 h 6179063"/>
              <a:gd name="connsiteX3" fmla="*/ 1972323 w 1978176"/>
              <a:gd name="connsiteY3" fmla="*/ 0 h 6179063"/>
              <a:gd name="connsiteX4" fmla="*/ 1978176 w 1978176"/>
              <a:gd name="connsiteY4" fmla="*/ 6177404 h 6179063"/>
              <a:gd name="connsiteX5" fmla="*/ 1295401 w 1978176"/>
              <a:gd name="connsiteY5" fmla="*/ 6179063 h 6179063"/>
              <a:gd name="connsiteX6" fmla="*/ 0 w 1978176"/>
              <a:gd name="connsiteY6" fmla="*/ 513 h 6179063"/>
              <a:gd name="connsiteX0" fmla="*/ 0 w 1978176"/>
              <a:gd name="connsiteY0" fmla="*/ 513 h 6177404"/>
              <a:gd name="connsiteX1" fmla="*/ 1282703 w 1978176"/>
              <a:gd name="connsiteY1" fmla="*/ 513 h 6177404"/>
              <a:gd name="connsiteX2" fmla="*/ 1295401 w 1978176"/>
              <a:gd name="connsiteY2" fmla="*/ 513 h 6177404"/>
              <a:gd name="connsiteX3" fmla="*/ 1972323 w 1978176"/>
              <a:gd name="connsiteY3" fmla="*/ 0 h 6177404"/>
              <a:gd name="connsiteX4" fmla="*/ 1978176 w 1978176"/>
              <a:gd name="connsiteY4" fmla="*/ 6177404 h 6177404"/>
              <a:gd name="connsiteX5" fmla="*/ 0 w 1978176"/>
              <a:gd name="connsiteY5" fmla="*/ 513 h 6177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8176" h="6177404">
                <a:moveTo>
                  <a:pt x="0" y="513"/>
                </a:moveTo>
                <a:lnTo>
                  <a:pt x="1282703" y="513"/>
                </a:lnTo>
                <a:lnTo>
                  <a:pt x="1295401" y="513"/>
                </a:lnTo>
                <a:lnTo>
                  <a:pt x="1972323" y="0"/>
                </a:lnTo>
                <a:lnTo>
                  <a:pt x="1978176" y="6177404"/>
                </a:lnTo>
                <a:lnTo>
                  <a:pt x="0" y="513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rgbClr val="40404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46515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F02CB-169E-4F5F-B4CD-A28CB6E1FA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57132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48AE51D-CE08-467B-8E32-99FC569809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EDA8A45-29C5-478C-B732-BC6689B527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C9F0AEE-A7F7-438C-8260-42661369325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89F225-BD08-4CAB-B248-EE76A773F4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68647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440166E-3797-4F27-B905-A20302F060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43B7A1-BE8B-43E4-B762-E1DFFBFBA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544402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A9231FF0-99C2-4F2B-9DA2-FA07526516F4}"/>
              </a:ext>
            </a:extLst>
          </p:cNvPr>
          <p:cNvSpPr>
            <a:spLocks/>
          </p:cNvSpPr>
          <p:nvPr/>
        </p:nvSpPr>
        <p:spPr>
          <a:xfrm>
            <a:off x="152400" y="149459"/>
            <a:ext cx="11887200" cy="6556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2E404-7408-46E9-BCA3-D1AC016B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27489-F1A5-4AAB-9FDA-8A573FEAB26C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125095-F865-4398-8265-3A88749668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CEBFE5-095E-41C9-9117-29E48FCCFC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DE83D159-7AAB-44D3-BF0A-266EB1F4004B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CD412E9-F9CA-4601-B679-5412A8CA9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1531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91496C4-D41A-4213-8C8F-AE1F7FB448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501"/>
          <a:stretch/>
        </p:blipFill>
        <p:spPr>
          <a:xfrm>
            <a:off x="4544084" y="149459"/>
            <a:ext cx="7490758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384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607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A9231FF0-99C2-4F2B-9DA2-FA07526516F4}"/>
              </a:ext>
            </a:extLst>
          </p:cNvPr>
          <p:cNvSpPr>
            <a:spLocks/>
          </p:cNvSpPr>
          <p:nvPr/>
        </p:nvSpPr>
        <p:spPr>
          <a:xfrm>
            <a:off x="152400" y="149459"/>
            <a:ext cx="11887200" cy="6556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2E404-7408-46E9-BCA3-D1AC016B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27489-F1A5-4AAB-9FDA-8A573FEAB26C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125095-F865-4398-8265-3A88749668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CEBFE5-095E-41C9-9117-29E48FCCFC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DE83D159-7AAB-44D3-BF0A-266EB1F4004B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5AD530B-162B-44AD-8CA9-F48AEC7A87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043BD12D-74FA-4B26-9BAE-5B659FD377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0E6B79-9A78-45DC-B5A4-1D25112C2C7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EFBAC92-A326-47AD-A7E6-3232C528B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8272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A9231FF0-99C2-4F2B-9DA2-FA07526516F4}"/>
              </a:ext>
            </a:extLst>
          </p:cNvPr>
          <p:cNvSpPr>
            <a:spLocks/>
          </p:cNvSpPr>
          <p:nvPr/>
        </p:nvSpPr>
        <p:spPr>
          <a:xfrm>
            <a:off x="152400" y="149459"/>
            <a:ext cx="11887200" cy="6556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2E404-7408-46E9-BCA3-D1AC016B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27489-F1A5-4AAB-9FDA-8A573FEAB26C}"/>
              </a:ext>
            </a:extLst>
          </p:cNvPr>
          <p:cNvGrpSpPr/>
          <p:nvPr userDrawn="1"/>
        </p:nvGrpSpPr>
        <p:grpSpPr>
          <a:xfrm>
            <a:off x="311050" y="6442103"/>
            <a:ext cx="644318" cy="201226"/>
            <a:chOff x="311050" y="6442103"/>
            <a:chExt cx="644318" cy="20122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125095-F865-4398-8265-3A88749668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739"/>
            <a:stretch/>
          </p:blipFill>
          <p:spPr>
            <a:xfrm>
              <a:off x="311050" y="6442103"/>
              <a:ext cx="178923" cy="19367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CEBFE5-095E-41C9-9117-29E48FCCFC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8222" t="81907" r="-1" b="-1478"/>
            <a:stretch/>
          </p:blipFill>
          <p:spPr>
            <a:xfrm>
              <a:off x="516193" y="6494148"/>
              <a:ext cx="439175" cy="149181"/>
            </a:xfrm>
            <a:prstGeom prst="rect">
              <a:avLst/>
            </a:prstGeom>
          </p:spPr>
        </p:pic>
      </p:grp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DE83D159-7AAB-44D3-BF0A-266EB1F4004B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4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F3B2A0E-4639-4D15-BF28-838C5FE94757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FAD38-17A3-4768-AE21-DCD57702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62FD9C3-3D06-4B1C-BE0A-88A1A26D2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050" y="6442163"/>
            <a:ext cx="649224" cy="194767"/>
          </a:xfrm>
          <a:prstGeom prst="rect">
            <a:avLst/>
          </a:prstGeom>
        </p:spPr>
      </p:pic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F6F6E9E-AA67-454E-81EF-9DEE94B6F3C3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92C5625-F859-47B6-A68B-923B3C14E7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12179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F3B2A0E-4639-4D15-BF28-838C5FE94757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FAD38-17A3-4768-AE21-DCD57702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62FD9C3-3D06-4B1C-BE0A-88A1A26D2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050" y="6442163"/>
            <a:ext cx="649224" cy="194767"/>
          </a:xfrm>
          <a:prstGeom prst="rect">
            <a:avLst/>
          </a:prstGeom>
        </p:spPr>
      </p:pic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F6F6E9E-AA67-454E-81EF-9DEE94B6F3C3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794F5F4-5987-46FB-868D-02167FE650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BB273F-C0D0-4BB3-AAAB-BBB2F76C94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4105BF-1F15-47E8-A7F9-B31317B74C6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FC0260E-3FF8-41B0-AC34-6D21605D7A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86095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F3B2A0E-4639-4D15-BF28-838C5FE94757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FAD38-17A3-4768-AE21-DCD57702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62FD9C3-3D06-4B1C-BE0A-88A1A26D2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050" y="6442163"/>
            <a:ext cx="649224" cy="194767"/>
          </a:xfrm>
          <a:prstGeom prst="rect">
            <a:avLst/>
          </a:prstGeom>
        </p:spPr>
      </p:pic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F6F6E9E-AA67-454E-81EF-9DEE94B6F3C3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368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D2E6F7D-1A88-4532-84DB-77E9B81AFA62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346D649-E8BB-4C5B-B95A-E7A278EECE05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04B300-89E5-47CB-B742-E81CD5DA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4946A5-B833-422D-9070-95CDBCB48FF0}"/>
              </a:ext>
            </a:extLst>
          </p:cNvPr>
          <p:cNvGrpSpPr/>
          <p:nvPr userDrawn="1"/>
        </p:nvGrpSpPr>
        <p:grpSpPr>
          <a:xfrm>
            <a:off x="307967" y="6433291"/>
            <a:ext cx="647401" cy="210038"/>
            <a:chOff x="307967" y="6433291"/>
            <a:chExt cx="647401" cy="21003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A9EAB28-74ED-4E37-96B9-2141D2EE0376}"/>
                </a:ext>
              </a:extLst>
            </p:cNvPr>
            <p:cNvGrpSpPr/>
            <p:nvPr userDrawn="1"/>
          </p:nvGrpSpPr>
          <p:grpSpPr>
            <a:xfrm>
              <a:off x="311050" y="6442103"/>
              <a:ext cx="644318" cy="201226"/>
              <a:chOff x="311050" y="6442103"/>
              <a:chExt cx="644318" cy="201226"/>
            </a:xfrm>
          </p:grpSpPr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E56290BD-7F13-4DDE-BE56-C3898B0E897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b="23739"/>
              <a:stretch/>
            </p:blipFill>
            <p:spPr>
              <a:xfrm>
                <a:off x="311050" y="6442103"/>
                <a:ext cx="178923" cy="19367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CDF7198B-BBF6-40D4-8081-B324F9D954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18222" t="81907" r="-1" b="-1478"/>
              <a:stretch/>
            </p:blipFill>
            <p:spPr>
              <a:xfrm>
                <a:off x="516193" y="6494148"/>
                <a:ext cx="439175" cy="149181"/>
              </a:xfrm>
              <a:prstGeom prst="rect">
                <a:avLst/>
              </a:prstGeom>
            </p:spPr>
          </p:pic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FC27ADC-EF95-40AF-97FD-D14562E662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622" t="-1152" b="22879"/>
            <a:stretch/>
          </p:blipFill>
          <p:spPr>
            <a:xfrm>
              <a:off x="307967" y="6433291"/>
              <a:ext cx="185024" cy="204281"/>
            </a:xfrm>
            <a:prstGeom prst="rect">
              <a:avLst/>
            </a:prstGeom>
          </p:spPr>
        </p:pic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747481B-B56A-4A2B-8FA8-1AA5B23485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0332720" cy="43523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3853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D2E6F7D-1A88-4532-84DB-77E9B81AFA62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346D649-E8BB-4C5B-B95A-E7A278EECE05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04B300-89E5-47CB-B742-E81CD5DA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4946A5-B833-422D-9070-95CDBCB48FF0}"/>
              </a:ext>
            </a:extLst>
          </p:cNvPr>
          <p:cNvGrpSpPr/>
          <p:nvPr userDrawn="1"/>
        </p:nvGrpSpPr>
        <p:grpSpPr>
          <a:xfrm>
            <a:off x="307967" y="6433291"/>
            <a:ext cx="647401" cy="210038"/>
            <a:chOff x="307967" y="6433291"/>
            <a:chExt cx="647401" cy="21003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A9EAB28-74ED-4E37-96B9-2141D2EE0376}"/>
                </a:ext>
              </a:extLst>
            </p:cNvPr>
            <p:cNvGrpSpPr/>
            <p:nvPr userDrawn="1"/>
          </p:nvGrpSpPr>
          <p:grpSpPr>
            <a:xfrm>
              <a:off x="311050" y="6442103"/>
              <a:ext cx="644318" cy="201226"/>
              <a:chOff x="311050" y="6442103"/>
              <a:chExt cx="644318" cy="201226"/>
            </a:xfrm>
          </p:grpSpPr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E56290BD-7F13-4DDE-BE56-C3898B0E897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b="23739"/>
              <a:stretch/>
            </p:blipFill>
            <p:spPr>
              <a:xfrm>
                <a:off x="311050" y="6442103"/>
                <a:ext cx="178923" cy="19367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CDF7198B-BBF6-40D4-8081-B324F9D954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18222" t="81907" r="-1" b="-1478"/>
              <a:stretch/>
            </p:blipFill>
            <p:spPr>
              <a:xfrm>
                <a:off x="516193" y="6494148"/>
                <a:ext cx="439175" cy="149181"/>
              </a:xfrm>
              <a:prstGeom prst="rect">
                <a:avLst/>
              </a:prstGeom>
            </p:spPr>
          </p:pic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FC27ADC-EF95-40AF-97FD-D14562E662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622" t="-1152" b="22879"/>
            <a:stretch/>
          </p:blipFill>
          <p:spPr>
            <a:xfrm>
              <a:off x="307967" y="6433291"/>
              <a:ext cx="185024" cy="204281"/>
            </a:xfrm>
            <a:prstGeom prst="rect">
              <a:avLst/>
            </a:prstGeom>
          </p:spPr>
        </p:pic>
      </p:grp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D1561DB-283F-4E7E-B297-97904A9810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231660B-4D53-4E62-B1F5-975F86753D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1663F42-A643-4BC3-9F96-E74DE5B9530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2566" y="1910442"/>
            <a:ext cx="4663440" cy="381348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3A1B5E4-555E-4C75-AC05-24B13DD530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2566" y="1408814"/>
            <a:ext cx="4663440" cy="40547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3398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D2E6F7D-1A88-4532-84DB-77E9B81AFA62}"/>
              </a:ext>
            </a:extLst>
          </p:cNvPr>
          <p:cNvSpPr>
            <a:spLocks/>
          </p:cNvSpPr>
          <p:nvPr userDrawn="1"/>
        </p:nvSpPr>
        <p:spPr>
          <a:xfrm>
            <a:off x="152400" y="149459"/>
            <a:ext cx="11887200" cy="655624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346D649-E8BB-4C5B-B95A-E7A278EECE05}"/>
              </a:ext>
            </a:extLst>
          </p:cNvPr>
          <p:cNvSpPr/>
          <p:nvPr userDrawn="1"/>
        </p:nvSpPr>
        <p:spPr>
          <a:xfrm rot="10800000">
            <a:off x="11438854" y="-1"/>
            <a:ext cx="753142" cy="355600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590EB-AF77-48DA-A690-82861CE6D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</p:spPr>
        <p:txBody>
          <a:bodyPr lIns="0" tIns="0" rIns="0" bIns="0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844E54C-E87B-4265-8BBD-79ED7AC1F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04B300-89E5-47CB-B742-E81CD5DA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ertis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4946A5-B833-422D-9070-95CDBCB48FF0}"/>
              </a:ext>
            </a:extLst>
          </p:cNvPr>
          <p:cNvGrpSpPr/>
          <p:nvPr userDrawn="1"/>
        </p:nvGrpSpPr>
        <p:grpSpPr>
          <a:xfrm>
            <a:off x="307967" y="6433291"/>
            <a:ext cx="647401" cy="210038"/>
            <a:chOff x="307967" y="6433291"/>
            <a:chExt cx="647401" cy="21003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A9EAB28-74ED-4E37-96B9-2141D2EE0376}"/>
                </a:ext>
              </a:extLst>
            </p:cNvPr>
            <p:cNvGrpSpPr/>
            <p:nvPr userDrawn="1"/>
          </p:nvGrpSpPr>
          <p:grpSpPr>
            <a:xfrm>
              <a:off x="311050" y="6442103"/>
              <a:ext cx="644318" cy="201226"/>
              <a:chOff x="311050" y="6442103"/>
              <a:chExt cx="644318" cy="201226"/>
            </a:xfrm>
          </p:grpSpPr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E56290BD-7F13-4DDE-BE56-C3898B0E897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b="23739"/>
              <a:stretch/>
            </p:blipFill>
            <p:spPr>
              <a:xfrm>
                <a:off x="311050" y="6442103"/>
                <a:ext cx="178923" cy="19367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CDF7198B-BBF6-40D4-8081-B324F9D9545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 l="18222" t="81907" r="-1" b="-1478"/>
              <a:stretch/>
            </p:blipFill>
            <p:spPr>
              <a:xfrm>
                <a:off x="516193" y="6494148"/>
                <a:ext cx="439175" cy="149181"/>
              </a:xfrm>
              <a:prstGeom prst="rect">
                <a:avLst/>
              </a:prstGeom>
            </p:spPr>
          </p:pic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FC27ADC-EF95-40AF-97FD-D14562E662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622" t="-1152" b="22879"/>
            <a:stretch/>
          </p:blipFill>
          <p:spPr>
            <a:xfrm>
              <a:off x="307967" y="6433291"/>
              <a:ext cx="185024" cy="2042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8041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A570D0E-FFF7-409D-A178-A9E54DD4B5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225"/>
          <a:stretch/>
        </p:blipFill>
        <p:spPr>
          <a:xfrm>
            <a:off x="2092656" y="149459"/>
            <a:ext cx="9942186" cy="6556248"/>
          </a:xfrm>
          <a:prstGeom prst="rect">
            <a:avLst/>
          </a:prstGeom>
        </p:spPr>
      </p:pic>
      <p:sp>
        <p:nvSpPr>
          <p:cNvPr id="10" name="object 3">
            <a:extLst>
              <a:ext uri="{FF2B5EF4-FFF2-40B4-BE49-F238E27FC236}">
                <a16:creationId xmlns:a16="http://schemas.microsoft.com/office/drawing/2014/main" id="{D67736BB-5959-475E-BEA3-C3F39E4273F7}"/>
              </a:ext>
            </a:extLst>
          </p:cNvPr>
          <p:cNvSpPr/>
          <p:nvPr userDrawn="1"/>
        </p:nvSpPr>
        <p:spPr>
          <a:xfrm>
            <a:off x="157159" y="149459"/>
            <a:ext cx="6297465" cy="6559082"/>
          </a:xfrm>
          <a:custGeom>
            <a:avLst/>
            <a:gdLst>
              <a:gd name="connsiteX0" fmla="*/ 8081724 w 10408361"/>
              <a:gd name="connsiteY0" fmla="*/ 3457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3457 h 5595226"/>
              <a:gd name="connsiteX0" fmla="*/ 8081724 w 10408361"/>
              <a:gd name="connsiteY0" fmla="*/ 719 h 5595226"/>
              <a:gd name="connsiteX1" fmla="*/ 0 w 10408361"/>
              <a:gd name="connsiteY1" fmla="*/ 0 h 5595226"/>
              <a:gd name="connsiteX2" fmla="*/ 0 w 10408361"/>
              <a:gd name="connsiteY2" fmla="*/ 5595226 h 5595226"/>
              <a:gd name="connsiteX3" fmla="*/ 10408361 w 10408361"/>
              <a:gd name="connsiteY3" fmla="*/ 5595226 h 5595226"/>
              <a:gd name="connsiteX4" fmla="*/ 8081724 w 10408361"/>
              <a:gd name="connsiteY4" fmla="*/ 719 h 55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8361" h="5595226">
                <a:moveTo>
                  <a:pt x="8081724" y="719"/>
                </a:moveTo>
                <a:lnTo>
                  <a:pt x="0" y="0"/>
                </a:lnTo>
                <a:lnTo>
                  <a:pt x="0" y="5595226"/>
                </a:lnTo>
                <a:lnTo>
                  <a:pt x="10408361" y="5595226"/>
                </a:lnTo>
                <a:lnTo>
                  <a:pt x="8081724" y="719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C9E8F8-ABAB-47E7-817F-3890259698AE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63050" y="786810"/>
            <a:ext cx="3971637" cy="18288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400" spc="-1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880353-9C1D-459F-81BA-0EBC5CA1BD9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63050" y="3601683"/>
            <a:ext cx="3851256" cy="71187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38C2C2-230A-42D1-84FE-91456D7E59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658" y="5305821"/>
            <a:ext cx="751942" cy="106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427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78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svg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image" Target="../media/image42.emf"/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F2B8BA-0AC3-4FB4-9247-6C74706DA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1DA76C-1081-4293-8741-81898163AE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0332720" cy="435232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C0022-EBA8-4132-B8A3-E66BBF54E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700" y="6489052"/>
            <a:ext cx="136256" cy="215444"/>
          </a:xfrm>
          <a:prstGeom prst="rect">
            <a:avLst/>
          </a:prstGeom>
        </p:spPr>
        <p:txBody>
          <a:bodyPr vert="horz" wrap="none" lIns="0" tIns="45720" rIns="0" bIns="45720" rtlCol="0" anchor="ctr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9C77E68-1D1B-4619-B27B-3CF8444B3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8A02E2-82FE-4503-BBFA-9AA65F5720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85040"/>
            <a:ext cx="4114800" cy="2194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1015533" rtl="0" eaLnBrk="1" latinLnBrk="0" hangingPunct="1">
              <a:defRPr lang="en-US" sz="800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0626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08" r:id="rId2"/>
    <p:sldLayoutId id="2147483707" r:id="rId3"/>
    <p:sldLayoutId id="2147483706" r:id="rId4"/>
    <p:sldLayoutId id="2147483709" r:id="rId5"/>
    <p:sldLayoutId id="2147483710" r:id="rId6"/>
    <p:sldLayoutId id="2147483713" r:id="rId7"/>
    <p:sldLayoutId id="2147483714" r:id="rId8"/>
    <p:sldLayoutId id="2147483715" r:id="rId9"/>
    <p:sldLayoutId id="2147483681" r:id="rId10"/>
    <p:sldLayoutId id="2147483694" r:id="rId11"/>
    <p:sldLayoutId id="2147483695" r:id="rId12"/>
    <p:sldLayoutId id="2147483696" r:id="rId13"/>
    <p:sldLayoutId id="2147483697" r:id="rId14"/>
    <p:sldLayoutId id="2147483682" r:id="rId15"/>
    <p:sldLayoutId id="2147483711" r:id="rId16"/>
    <p:sldLayoutId id="2147483712" r:id="rId17"/>
    <p:sldLayoutId id="2147483686" r:id="rId18"/>
    <p:sldLayoutId id="2147483687" r:id="rId19"/>
    <p:sldLayoutId id="2147483733" r:id="rId20"/>
    <p:sldLayoutId id="2147483735" r:id="rId21"/>
    <p:sldLayoutId id="2147483737" r:id="rId22"/>
    <p:sldLayoutId id="2147483683" r:id="rId23"/>
    <p:sldLayoutId id="2147483716" r:id="rId24"/>
    <p:sldLayoutId id="2147483738" r:id="rId25"/>
    <p:sldLayoutId id="2147483691" r:id="rId26"/>
    <p:sldLayoutId id="2147483717" r:id="rId27"/>
    <p:sldLayoutId id="2147483739" r:id="rId28"/>
    <p:sldLayoutId id="2147483718" r:id="rId29"/>
    <p:sldLayoutId id="2147483684" r:id="rId30"/>
    <p:sldLayoutId id="2147483740" r:id="rId31"/>
    <p:sldLayoutId id="2147483719" r:id="rId32"/>
    <p:sldLayoutId id="2147483685" r:id="rId33"/>
    <p:sldLayoutId id="2147483741" r:id="rId34"/>
    <p:sldLayoutId id="2147483720" r:id="rId35"/>
    <p:sldLayoutId id="2147483668" r:id="rId36"/>
    <p:sldLayoutId id="2147483742" r:id="rId3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F2B8BA-0AC3-4FB4-9247-6C74706DA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1DA76C-1081-4293-8741-81898163AE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0332720" cy="435232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C0022-EBA8-4132-B8A3-E66BBF54E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700" y="6489052"/>
            <a:ext cx="136256" cy="215444"/>
          </a:xfrm>
          <a:prstGeom prst="rect">
            <a:avLst/>
          </a:prstGeom>
        </p:spPr>
        <p:txBody>
          <a:bodyPr vert="horz" wrap="none" lIns="0" tIns="45720" rIns="0" bIns="45720" rtlCol="0" anchor="ctr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9C77E68-1D1B-4619-B27B-3CF8444B3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8A02E2-82FE-4503-BBFA-9AA65F5720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85040"/>
            <a:ext cx="4114800" cy="2194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1015533" rtl="0" eaLnBrk="1" latinLnBrk="0" hangingPunct="1">
              <a:defRPr lang="en-US" sz="800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4021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008949-4AE8-4DA3-B838-E66A27610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46292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"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008949-4AE8-4DA3-B838-E66A27610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F2B8BA-0AC3-4FB4-9247-6C74706DA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0332720" cy="54864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1DA76C-1081-4293-8741-81898163AE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0332720" cy="435232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C0022-EBA8-4132-B8A3-E66BBF54E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700" y="6489052"/>
            <a:ext cx="136256" cy="215444"/>
          </a:xfrm>
          <a:prstGeom prst="rect">
            <a:avLst/>
          </a:prstGeom>
        </p:spPr>
        <p:txBody>
          <a:bodyPr vert="horz" wrap="none" lIns="0" tIns="45720" rIns="0" bIns="45720" rtlCol="0" anchor="ctr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FB5EA1ED-D61F-4D0F-AD1A-AD6564F881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9C77E68-1D1B-4619-B27B-3CF8444B3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rcRect l="22577" t="36683" r="22728" b="36918"/>
          <a:stretch/>
        </p:blipFill>
        <p:spPr>
          <a:xfrm>
            <a:off x="308147" y="6432838"/>
            <a:ext cx="649224" cy="203679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8A02E2-82FE-4503-BBFA-9AA65F5720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85040"/>
            <a:ext cx="4114800" cy="2194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1015533" rtl="0" eaLnBrk="1" latinLnBrk="0" hangingPunct="1">
              <a:defRPr lang="en-US" sz="800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0626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18" Type="http://schemas.openxmlformats.org/officeDocument/2006/relationships/image" Target="../media/image60.png"/><Relationship Id="rId26" Type="http://schemas.openxmlformats.org/officeDocument/2006/relationships/image" Target="../media/image68.png"/><Relationship Id="rId3" Type="http://schemas.openxmlformats.org/officeDocument/2006/relationships/image" Target="../media/image45.svg"/><Relationship Id="rId21" Type="http://schemas.openxmlformats.org/officeDocument/2006/relationships/image" Target="../media/image63.png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5" Type="http://schemas.openxmlformats.org/officeDocument/2006/relationships/image" Target="../media/image67.png"/><Relationship Id="rId2" Type="http://schemas.openxmlformats.org/officeDocument/2006/relationships/image" Target="../media/image44.png"/><Relationship Id="rId16" Type="http://schemas.openxmlformats.org/officeDocument/2006/relationships/image" Target="../media/image58.svg"/><Relationship Id="rId20" Type="http://schemas.openxmlformats.org/officeDocument/2006/relationships/image" Target="../media/image62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24" Type="http://schemas.openxmlformats.org/officeDocument/2006/relationships/image" Target="../media/image66.png"/><Relationship Id="rId5" Type="http://schemas.openxmlformats.org/officeDocument/2006/relationships/image" Target="../media/image47.svg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46.png"/><Relationship Id="rId9" Type="http://schemas.openxmlformats.org/officeDocument/2006/relationships/image" Target="../media/image51.svg"/><Relationship Id="rId14" Type="http://schemas.openxmlformats.org/officeDocument/2006/relationships/image" Target="../media/image56.png"/><Relationship Id="rId22" Type="http://schemas.openxmlformats.org/officeDocument/2006/relationships/image" Target="../media/image6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8ED3B-1390-4EAA-8053-203979218F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3050" y="786384"/>
            <a:ext cx="4539265" cy="1828800"/>
          </a:xfrm>
        </p:spPr>
        <p:txBody>
          <a:bodyPr/>
          <a:lstStyle/>
          <a:p>
            <a:r>
              <a:rPr lang="en-US"/>
              <a:t>Icertis Developer Network</a:t>
            </a:r>
          </a:p>
        </p:txBody>
      </p:sp>
    </p:spTree>
    <p:extLst>
      <p:ext uri="{BB962C8B-B14F-4D97-AF65-F5344CB8AC3E}">
        <p14:creationId xmlns:p14="http://schemas.microsoft.com/office/powerpoint/2010/main" val="215922420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6A8B318-7C74-4DEB-8814-00EF0FEEE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1198201"/>
              </p:ext>
            </p:extLst>
          </p:nvPr>
        </p:nvGraphicFramePr>
        <p:xfrm>
          <a:off x="457200" y="1898470"/>
          <a:ext cx="7223759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520">
                  <a:extLst>
                    <a:ext uri="{9D8B030D-6E8A-4147-A177-3AD203B41FA5}">
                      <a16:colId xmlns:a16="http://schemas.microsoft.com/office/drawing/2014/main" val="737675392"/>
                    </a:ext>
                  </a:extLst>
                </a:gridCol>
                <a:gridCol w="6492239">
                  <a:extLst>
                    <a:ext uri="{9D8B030D-6E8A-4147-A177-3AD203B41FA5}">
                      <a16:colId xmlns:a16="http://schemas.microsoft.com/office/drawing/2014/main" val="293017774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2400" b="1">
                          <a:solidFill>
                            <a:schemeClr val="accent3"/>
                          </a:solidFill>
                        </a:rPr>
                        <a:t>01</a:t>
                      </a:r>
                    </a:p>
                  </a:txBody>
                  <a:tcPr marL="0" marR="0" anchor="ctr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chemeClr val="tx2"/>
                          </a:solidFill>
                        </a:rPr>
                        <a:t>Icertis Developer Network (IDN)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447546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2400" b="1">
                          <a:solidFill>
                            <a:schemeClr val="accent3"/>
                          </a:solidFill>
                        </a:rPr>
                        <a:t>02</a:t>
                      </a:r>
                    </a:p>
                  </a:txBody>
                  <a:tcPr marL="0" marR="0"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>
                          <a:solidFill>
                            <a:schemeClr val="tx2"/>
                          </a:solidFill>
                        </a:rPr>
                        <a:t>Icertis Developer Workbench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61176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2400" b="1">
                          <a:solidFill>
                            <a:schemeClr val="accent3"/>
                          </a:solidFill>
                        </a:rPr>
                        <a:t>03</a:t>
                      </a:r>
                    </a:p>
                  </a:txBody>
                  <a:tcPr marL="0" marR="0"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latin typeface="Work Sans"/>
                        </a:rPr>
                        <a:t>IDN Portal – Logical Architec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4769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2400" b="1">
                          <a:solidFill>
                            <a:schemeClr val="accent3"/>
                          </a:solidFill>
                        </a:rPr>
                        <a:t>04</a:t>
                      </a:r>
                    </a:p>
                  </a:txBody>
                  <a:tcPr marL="0" marR="0"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latin typeface="Work Sans"/>
                        </a:rPr>
                        <a:t>IDN Portal – Deployment Architecture</a:t>
                      </a:r>
                      <a:endParaRPr lang="en-US"/>
                    </a:p>
                  </a:txBody>
                  <a:tcPr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80980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>
                          <a:solidFill>
                            <a:schemeClr val="accent3"/>
                          </a:solidFill>
                        </a:rPr>
                        <a:t>05</a:t>
                      </a:r>
                    </a:p>
                  </a:txBody>
                  <a:tcPr marL="0" marR="0"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Microservice Internal Architec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3173795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38B22627-5611-4E96-A7BF-D2FE7CF8F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47451"/>
            <a:ext cx="4758266" cy="647433"/>
          </a:xfrm>
        </p:spPr>
        <p:txBody>
          <a:bodyPr/>
          <a:lstStyle/>
          <a:p>
            <a:r>
              <a:rPr lang="en-US"/>
              <a:t>Cont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82847-8D85-4A01-A29C-6340C6C660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BF5B41-742F-4CC8-96F8-57A152EE4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2605760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0E2A1-08D3-46DB-8219-DA2296E5E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8551" y="876513"/>
            <a:ext cx="6477805" cy="1280160"/>
          </a:xfrm>
        </p:spPr>
        <p:txBody>
          <a:bodyPr>
            <a:normAutofit/>
          </a:bodyPr>
          <a:lstStyle/>
          <a:p>
            <a:r>
              <a:rPr lang="en-US" sz="2000"/>
              <a:t>Developer Journey E2E: </a:t>
            </a:r>
            <a:r>
              <a:rPr lang="en-US" sz="2000">
                <a:latin typeface="+mn-lt"/>
              </a:rPr>
              <a:t>Partner Developer to independently build extensions, niche solutions and App, Certify, and Deploy 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A3F07202-444C-4718-BD3E-A8C0710BB7F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219114" y="1983545"/>
          <a:ext cx="5936566" cy="40796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4E772-4D9B-4854-B6C0-82E94DC09B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862A38-386B-4786-AA18-3B4F1476F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2561345-243D-4202-B915-271844DEBF20}"/>
              </a:ext>
            </a:extLst>
          </p:cNvPr>
          <p:cNvSpPr txBox="1">
            <a:spLocks/>
          </p:cNvSpPr>
          <p:nvPr/>
        </p:nvSpPr>
        <p:spPr>
          <a:xfrm>
            <a:off x="535600" y="1292504"/>
            <a:ext cx="3397348" cy="45964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latin typeface="+mn-lt"/>
              </a:rPr>
              <a:t>Icertis Developer Workbench (Build, Test, Package) </a:t>
            </a:r>
          </a:p>
          <a:p>
            <a:r>
              <a:rPr lang="en-US" sz="1800">
                <a:latin typeface="+mn-lt"/>
              </a:rPr>
              <a:t>Instance Management (Request &amp; Deployment)</a:t>
            </a:r>
          </a:p>
          <a:p>
            <a:r>
              <a:rPr lang="en-US" sz="1800">
                <a:latin typeface="+mn-lt"/>
              </a:rPr>
              <a:t>Certified Deployments (Certification check for deployment)</a:t>
            </a:r>
          </a:p>
          <a:p>
            <a:r>
              <a:rPr lang="en-US" sz="1800">
                <a:latin typeface="+mn-lt"/>
              </a:rPr>
              <a:t>Integrated Technical Help (Developer centric help regarding What &amp; How)</a:t>
            </a:r>
          </a:p>
          <a:p>
            <a:r>
              <a:rPr lang="en-US" sz="1800">
                <a:latin typeface="+mn-lt"/>
              </a:rPr>
              <a:t>IDN Portal (User Management, Role Management, Notification &amp; Updates)</a:t>
            </a:r>
          </a:p>
          <a:p>
            <a:endParaRPr lang="en-US" sz="1800"/>
          </a:p>
          <a:p>
            <a:endParaRPr lang="en-US" sz="1800"/>
          </a:p>
          <a:p>
            <a:endParaRPr lang="en-US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FA8C53D-3226-4D28-9023-A9D486B532EC}"/>
              </a:ext>
            </a:extLst>
          </p:cNvPr>
          <p:cNvSpPr txBox="1">
            <a:spLocks/>
          </p:cNvSpPr>
          <p:nvPr/>
        </p:nvSpPr>
        <p:spPr>
          <a:xfrm>
            <a:off x="356395" y="356751"/>
            <a:ext cx="7644605" cy="54864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4040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certis Developer Network (MVP – Q3’2022)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8AB34D53-B78B-4B78-8695-5BDD7006A1AD}"/>
              </a:ext>
            </a:extLst>
          </p:cNvPr>
          <p:cNvSpPr/>
          <p:nvPr/>
        </p:nvSpPr>
        <p:spPr>
          <a:xfrm>
            <a:off x="3993229" y="3407956"/>
            <a:ext cx="966640" cy="713936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374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Arrow: Bent 38">
            <a:extLst>
              <a:ext uri="{FF2B5EF4-FFF2-40B4-BE49-F238E27FC236}">
                <a16:creationId xmlns:a16="http://schemas.microsoft.com/office/drawing/2014/main" id="{719BF419-84B4-4C56-ABDB-E8141C13B4AB}"/>
              </a:ext>
            </a:extLst>
          </p:cNvPr>
          <p:cNvSpPr/>
          <p:nvPr/>
        </p:nvSpPr>
        <p:spPr>
          <a:xfrm>
            <a:off x="5500839" y="165605"/>
            <a:ext cx="780166" cy="1143098"/>
          </a:xfrm>
          <a:prstGeom prst="ben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8" name="Arrow: Bent 37">
            <a:extLst>
              <a:ext uri="{FF2B5EF4-FFF2-40B4-BE49-F238E27FC236}">
                <a16:creationId xmlns:a16="http://schemas.microsoft.com/office/drawing/2014/main" id="{A52C59B8-0A6A-43FB-A95D-3F847219BF14}"/>
              </a:ext>
            </a:extLst>
          </p:cNvPr>
          <p:cNvSpPr/>
          <p:nvPr/>
        </p:nvSpPr>
        <p:spPr>
          <a:xfrm flipV="1">
            <a:off x="5528666" y="4332933"/>
            <a:ext cx="845761" cy="2068904"/>
          </a:xfrm>
          <a:prstGeom prst="ben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D63F41-746A-4431-8D38-BBFB14E5E9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6FC868-B4D9-4DB9-A1E2-D552E3E00407}"/>
              </a:ext>
            </a:extLst>
          </p:cNvPr>
          <p:cNvSpPr/>
          <p:nvPr/>
        </p:nvSpPr>
        <p:spPr>
          <a:xfrm>
            <a:off x="2402058" y="1618596"/>
            <a:ext cx="6333979" cy="2629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3EFD7E-370C-4431-B30D-FDFBFAF78A7D}"/>
              </a:ext>
            </a:extLst>
          </p:cNvPr>
          <p:cNvSpPr/>
          <p:nvPr/>
        </p:nvSpPr>
        <p:spPr>
          <a:xfrm>
            <a:off x="2785403" y="1870920"/>
            <a:ext cx="1253197" cy="7034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Solution Studi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8A201C-BB52-4B85-882F-8758BF14BDF7}"/>
              </a:ext>
            </a:extLst>
          </p:cNvPr>
          <p:cNvSpPr/>
          <p:nvPr/>
        </p:nvSpPr>
        <p:spPr>
          <a:xfrm>
            <a:off x="2785403" y="3312942"/>
            <a:ext cx="1253197" cy="7034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Analyz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112DA2-C1D6-4B1F-BB53-7AA661C42FA3}"/>
              </a:ext>
            </a:extLst>
          </p:cNvPr>
          <p:cNvSpPr/>
          <p:nvPr/>
        </p:nvSpPr>
        <p:spPr>
          <a:xfrm>
            <a:off x="4969998" y="1906089"/>
            <a:ext cx="1253197" cy="7034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Extension Templa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98A030-E0C0-48F6-B42F-1441A6499DE7}"/>
              </a:ext>
            </a:extLst>
          </p:cNvPr>
          <p:cNvSpPr/>
          <p:nvPr/>
        </p:nvSpPr>
        <p:spPr>
          <a:xfrm>
            <a:off x="7222001" y="1932605"/>
            <a:ext cx="1253197" cy="7034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Seed Extracto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05B9FD-B454-4C52-A1B1-4D0D8F966F72}"/>
              </a:ext>
            </a:extLst>
          </p:cNvPr>
          <p:cNvSpPr/>
          <p:nvPr/>
        </p:nvSpPr>
        <p:spPr>
          <a:xfrm>
            <a:off x="4969998" y="3312942"/>
            <a:ext cx="1253197" cy="7034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Automation Geni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E37F97-F057-42A5-88F7-F401246A86B0}"/>
              </a:ext>
            </a:extLst>
          </p:cNvPr>
          <p:cNvSpPr/>
          <p:nvPr/>
        </p:nvSpPr>
        <p:spPr>
          <a:xfrm>
            <a:off x="7222002" y="3362179"/>
            <a:ext cx="1253197" cy="7034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Package Generat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02AB1E-E3A9-4C05-B590-1CBA94D314DE}"/>
              </a:ext>
            </a:extLst>
          </p:cNvPr>
          <p:cNvSpPr/>
          <p:nvPr/>
        </p:nvSpPr>
        <p:spPr>
          <a:xfrm>
            <a:off x="2094327" y="1177763"/>
            <a:ext cx="6949440" cy="3474720"/>
          </a:xfrm>
          <a:prstGeom prst="rect">
            <a:avLst/>
          </a:prstGeom>
          <a:solidFill>
            <a:schemeClr val="accent3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F594BC-BA94-4572-A9FD-06CC0072ECA4}"/>
              </a:ext>
            </a:extLst>
          </p:cNvPr>
          <p:cNvSpPr/>
          <p:nvPr/>
        </p:nvSpPr>
        <p:spPr>
          <a:xfrm>
            <a:off x="2148840" y="4786896"/>
            <a:ext cx="6949440" cy="452508"/>
          </a:xfrm>
          <a:prstGeom prst="rect">
            <a:avLst/>
          </a:prstGeom>
          <a:solidFill>
            <a:schemeClr val="accent4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CI Platfor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C072B8-761A-4948-AB85-268216BEB507}"/>
              </a:ext>
            </a:extLst>
          </p:cNvPr>
          <p:cNvSpPr/>
          <p:nvPr/>
        </p:nvSpPr>
        <p:spPr>
          <a:xfrm>
            <a:off x="2785402" y="4435162"/>
            <a:ext cx="1253197" cy="7034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Client Framewor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230D6D-A107-4986-AE19-6BD5F9E354D3}"/>
              </a:ext>
            </a:extLst>
          </p:cNvPr>
          <p:cNvSpPr txBox="1"/>
          <p:nvPr/>
        </p:nvSpPr>
        <p:spPr>
          <a:xfrm>
            <a:off x="3444825" y="1222730"/>
            <a:ext cx="4499549" cy="707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certis Developer Workbench (IDW)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FD9A8E06-231D-4030-B9A4-C8DC0F6B6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85040"/>
            <a:ext cx="4114800" cy="219456"/>
          </a:xfrm>
        </p:spPr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72640A-6E72-4FDB-BAE2-2F419D7172A2}"/>
              </a:ext>
            </a:extLst>
          </p:cNvPr>
          <p:cNvSpPr txBox="1"/>
          <p:nvPr/>
        </p:nvSpPr>
        <p:spPr>
          <a:xfrm>
            <a:off x="9508881" y="1717005"/>
            <a:ext cx="2102826" cy="10926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/>
              <a:t>Extracts ICI Configurations Seeds like Attributes, Contract Types, and Related Data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004C8D49-7463-483F-847E-D9B99F97B3E0}"/>
              </a:ext>
            </a:extLst>
          </p:cNvPr>
          <p:cNvSpPr/>
          <p:nvPr/>
        </p:nvSpPr>
        <p:spPr>
          <a:xfrm>
            <a:off x="8849164" y="1991908"/>
            <a:ext cx="634219" cy="321779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02C91DBC-F65F-4348-90B5-F7192F8BE9A0}"/>
              </a:ext>
            </a:extLst>
          </p:cNvPr>
          <p:cNvSpPr/>
          <p:nvPr/>
        </p:nvSpPr>
        <p:spPr>
          <a:xfrm>
            <a:off x="8802272" y="3553023"/>
            <a:ext cx="634219" cy="321779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8AF664-FEA3-4F9E-B0AA-9BCA48138800}"/>
              </a:ext>
            </a:extLst>
          </p:cNvPr>
          <p:cNvSpPr txBox="1"/>
          <p:nvPr/>
        </p:nvSpPr>
        <p:spPr>
          <a:xfrm>
            <a:off x="9508881" y="3312942"/>
            <a:ext cx="2225819" cy="10926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/>
              <a:t>Packages Extensions in a standardized Zip file consisting of Source Code, DB Scripts, and Automation Test Cases</a:t>
            </a:r>
          </a:p>
        </p:txBody>
      </p:sp>
      <p:sp>
        <p:nvSpPr>
          <p:cNvPr id="28" name="Arrow: Left 27">
            <a:extLst>
              <a:ext uri="{FF2B5EF4-FFF2-40B4-BE49-F238E27FC236}">
                <a16:creationId xmlns:a16="http://schemas.microsoft.com/office/drawing/2014/main" id="{0C0E2687-0DDB-40FE-946E-8168B10F85B0}"/>
              </a:ext>
            </a:extLst>
          </p:cNvPr>
          <p:cNvSpPr/>
          <p:nvPr/>
        </p:nvSpPr>
        <p:spPr>
          <a:xfrm>
            <a:off x="1814729" y="1991908"/>
            <a:ext cx="474493" cy="315479"/>
          </a:xfrm>
          <a:prstGeom prst="lef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Left 28">
            <a:extLst>
              <a:ext uri="{FF2B5EF4-FFF2-40B4-BE49-F238E27FC236}">
                <a16:creationId xmlns:a16="http://schemas.microsoft.com/office/drawing/2014/main" id="{6FE0EB80-24F5-4B0F-9833-1C6C310BE81F}"/>
              </a:ext>
            </a:extLst>
          </p:cNvPr>
          <p:cNvSpPr/>
          <p:nvPr/>
        </p:nvSpPr>
        <p:spPr>
          <a:xfrm>
            <a:off x="1784542" y="3553023"/>
            <a:ext cx="474494" cy="315479"/>
          </a:xfrm>
          <a:prstGeom prst="lef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5E56EB0-1C90-42AB-A515-F2C60B6BC4DF}"/>
              </a:ext>
            </a:extLst>
          </p:cNvPr>
          <p:cNvSpPr txBox="1"/>
          <p:nvPr/>
        </p:nvSpPr>
        <p:spPr>
          <a:xfrm>
            <a:off x="68286" y="1681836"/>
            <a:ext cx="1746443" cy="10926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/>
              <a:t>VS Extension which allows create different types of Extension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E3FB1FC-1F84-4B95-B8BF-2D0075ABDA6F}"/>
              </a:ext>
            </a:extLst>
          </p:cNvPr>
          <p:cNvSpPr txBox="1"/>
          <p:nvPr/>
        </p:nvSpPr>
        <p:spPr>
          <a:xfrm>
            <a:off x="38099" y="3164458"/>
            <a:ext cx="1746443" cy="10926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/>
              <a:t>Analyzes the code to ensure it is within ICI Coding Guardrails and Upgrade Safe </a:t>
            </a: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EFD4FF98-1088-4399-8923-654340901623}"/>
              </a:ext>
            </a:extLst>
          </p:cNvPr>
          <p:cNvSpPr/>
          <p:nvPr/>
        </p:nvSpPr>
        <p:spPr>
          <a:xfrm>
            <a:off x="3268098" y="5205642"/>
            <a:ext cx="287803" cy="523211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5640003-19B9-4CEF-999F-E5F4BA544D8C}"/>
              </a:ext>
            </a:extLst>
          </p:cNvPr>
          <p:cNvSpPr txBox="1"/>
          <p:nvPr/>
        </p:nvSpPr>
        <p:spPr>
          <a:xfrm>
            <a:off x="2588893" y="5695091"/>
            <a:ext cx="1746443" cy="109260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/>
              <a:t>Provides Reusable methods to write client-side Custom Hooks and modify Meta Dat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4C55561-F37F-4D29-91BC-B878C15CAADE}"/>
              </a:ext>
            </a:extLst>
          </p:cNvPr>
          <p:cNvSpPr txBox="1"/>
          <p:nvPr/>
        </p:nvSpPr>
        <p:spPr>
          <a:xfrm>
            <a:off x="6449674" y="5792543"/>
            <a:ext cx="2442207" cy="6924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/>
              <a:t>Automation Genie creates UI Automation Test Cases based on ICI Configuration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5AC463-AA11-4C3D-BCA9-239BC7B6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298" y="222899"/>
            <a:ext cx="5068473" cy="707517"/>
          </a:xfrm>
        </p:spPr>
        <p:txBody>
          <a:bodyPr>
            <a:normAutofit/>
          </a:bodyPr>
          <a:lstStyle/>
          <a:p>
            <a:r>
              <a:rPr lang="en-US"/>
              <a:t>Icertis Developer Workbench (IDW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F68DE0-9DD3-45A1-B966-6963FB419904}"/>
              </a:ext>
            </a:extLst>
          </p:cNvPr>
          <p:cNvSpPr txBox="1"/>
          <p:nvPr/>
        </p:nvSpPr>
        <p:spPr>
          <a:xfrm>
            <a:off x="6432891" y="186705"/>
            <a:ext cx="2458990" cy="892552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/>
              <a:t>Reference Template for Custom, Reusable, &amp; Business Application Solutions</a:t>
            </a:r>
          </a:p>
        </p:txBody>
      </p:sp>
    </p:spTree>
    <p:extLst>
      <p:ext uri="{BB962C8B-B14F-4D97-AF65-F5344CB8AC3E}">
        <p14:creationId xmlns:p14="http://schemas.microsoft.com/office/powerpoint/2010/main" val="1714949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CFB8B-A776-4AB1-B0DE-633BFA171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DN Portal – Logical Archite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0AC2DD-0998-4BE3-B154-1D8AC7F97F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F8730D-6630-4583-B0B1-33411A2D8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DEBA3D-FFBA-2687-547D-5351DF33245F}"/>
              </a:ext>
            </a:extLst>
          </p:cNvPr>
          <p:cNvSpPr/>
          <p:nvPr/>
        </p:nvSpPr>
        <p:spPr>
          <a:xfrm>
            <a:off x="204188" y="2110665"/>
            <a:ext cx="825625" cy="28608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E08DE4-9EB4-07DF-F054-88FBACFBD441}"/>
              </a:ext>
            </a:extLst>
          </p:cNvPr>
          <p:cNvSpPr/>
          <p:nvPr/>
        </p:nvSpPr>
        <p:spPr>
          <a:xfrm>
            <a:off x="257454" y="2603450"/>
            <a:ext cx="719092" cy="1843151"/>
          </a:xfrm>
          <a:prstGeom prst="rect">
            <a:avLst/>
          </a:prstGeom>
          <a:solidFill>
            <a:srgbClr val="3228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Modular</a:t>
            </a:r>
          </a:p>
          <a:p>
            <a:pPr algn="ctr"/>
            <a:endParaRPr lang="en-US" sz="1600"/>
          </a:p>
          <a:p>
            <a:pPr algn="ctr"/>
            <a:r>
              <a:rPr lang="en-US" sz="2400"/>
              <a:t>ng</a:t>
            </a:r>
          </a:p>
          <a:p>
            <a:pPr algn="ctr"/>
            <a:r>
              <a:rPr lang="en-US" sz="1600"/>
              <a:t> </a:t>
            </a:r>
          </a:p>
          <a:p>
            <a:pPr algn="ctr"/>
            <a:r>
              <a:rPr lang="en-US" sz="1600"/>
              <a:t>SP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3B83B1-EB0D-AC3A-734F-B89AE18B8B24}"/>
              </a:ext>
            </a:extLst>
          </p:cNvPr>
          <p:cNvSpPr/>
          <p:nvPr/>
        </p:nvSpPr>
        <p:spPr>
          <a:xfrm>
            <a:off x="1498127" y="1003177"/>
            <a:ext cx="8558073" cy="5477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EA65BCD1-CCC8-BE57-C8C1-2B9D52289853}"/>
              </a:ext>
            </a:extLst>
          </p:cNvPr>
          <p:cNvSpPr/>
          <p:nvPr/>
        </p:nvSpPr>
        <p:spPr>
          <a:xfrm>
            <a:off x="1029813" y="3429000"/>
            <a:ext cx="463428" cy="39727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55864A-4F4E-FEEA-8424-C7EE0731FFE5}"/>
              </a:ext>
            </a:extLst>
          </p:cNvPr>
          <p:cNvSpPr/>
          <p:nvPr/>
        </p:nvSpPr>
        <p:spPr>
          <a:xfrm>
            <a:off x="1650528" y="2414844"/>
            <a:ext cx="719092" cy="389599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</a:t>
            </a:r>
          </a:p>
          <a:p>
            <a:pPr algn="ctr"/>
            <a:r>
              <a:rPr lang="en-US"/>
              <a:t>P</a:t>
            </a:r>
          </a:p>
          <a:p>
            <a:pPr algn="ctr"/>
            <a:r>
              <a:rPr lang="en-US"/>
              <a:t>I</a:t>
            </a:r>
          </a:p>
          <a:p>
            <a:pPr algn="ctr"/>
            <a:endParaRPr lang="en-US"/>
          </a:p>
          <a:p>
            <a:pPr algn="ctr"/>
            <a:r>
              <a:rPr lang="en-US"/>
              <a:t>G</a:t>
            </a:r>
          </a:p>
          <a:p>
            <a:pPr algn="ctr"/>
            <a:r>
              <a:rPr lang="en-US"/>
              <a:t>a</a:t>
            </a:r>
          </a:p>
          <a:p>
            <a:pPr algn="ctr"/>
            <a:r>
              <a:rPr lang="en-US"/>
              <a:t>t</a:t>
            </a:r>
          </a:p>
          <a:p>
            <a:pPr algn="ctr"/>
            <a:r>
              <a:rPr lang="en-US"/>
              <a:t>e</a:t>
            </a:r>
          </a:p>
          <a:p>
            <a:pPr algn="ctr"/>
            <a:r>
              <a:rPr lang="en-US"/>
              <a:t>w</a:t>
            </a:r>
          </a:p>
          <a:p>
            <a:pPr algn="ctr"/>
            <a:r>
              <a:rPr lang="en-US"/>
              <a:t>a</a:t>
            </a:r>
          </a:p>
          <a:p>
            <a:pPr algn="ctr"/>
            <a:r>
              <a:rPr lang="en-US"/>
              <a:t>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7214BB6-6991-4BC3-40C3-FB5F18F62DD9}"/>
              </a:ext>
            </a:extLst>
          </p:cNvPr>
          <p:cNvSpPr/>
          <p:nvPr/>
        </p:nvSpPr>
        <p:spPr>
          <a:xfrm>
            <a:off x="3619150" y="1329433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User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C695DC6-27DE-CC24-2D2A-8F8FDAC07766}"/>
              </a:ext>
            </a:extLst>
          </p:cNvPr>
          <p:cNvCxnSpPr>
            <a:cxnSpLocks/>
          </p:cNvCxnSpPr>
          <p:nvPr/>
        </p:nvCxnSpPr>
        <p:spPr>
          <a:xfrm>
            <a:off x="5777164" y="1543627"/>
            <a:ext cx="224064" cy="13606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9C6A883F-EE17-4ECC-1B94-C0C1B57283A9}"/>
              </a:ext>
            </a:extLst>
          </p:cNvPr>
          <p:cNvSpPr/>
          <p:nvPr/>
        </p:nvSpPr>
        <p:spPr>
          <a:xfrm>
            <a:off x="3619150" y="1864428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/>
              <a:t>IDW Management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F401E8E-530C-17C5-AA22-35E9CDE20073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5777164" y="2087500"/>
            <a:ext cx="215578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1F74046-4485-27C0-B569-24548BB9862D}"/>
              </a:ext>
            </a:extLst>
          </p:cNvPr>
          <p:cNvSpPr/>
          <p:nvPr/>
        </p:nvSpPr>
        <p:spPr>
          <a:xfrm>
            <a:off x="3619150" y="2407590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nstan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E569001-47FE-4E5A-7463-B1C0A5E57F69}"/>
              </a:ext>
            </a:extLst>
          </p:cNvPr>
          <p:cNvSpPr/>
          <p:nvPr/>
        </p:nvSpPr>
        <p:spPr>
          <a:xfrm>
            <a:off x="3619150" y="2952678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xtens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A32F84-0D5D-07A4-17CE-8CE671E71147}"/>
              </a:ext>
            </a:extLst>
          </p:cNvPr>
          <p:cNvSpPr/>
          <p:nvPr/>
        </p:nvSpPr>
        <p:spPr>
          <a:xfrm>
            <a:off x="3619150" y="4057919"/>
            <a:ext cx="2158014" cy="514328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ertifica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2B8F2AA-D5A4-C620-594C-C32B38ECF336}"/>
              </a:ext>
            </a:extLst>
          </p:cNvPr>
          <p:cNvSpPr/>
          <p:nvPr/>
        </p:nvSpPr>
        <p:spPr>
          <a:xfrm>
            <a:off x="6934545" y="1340327"/>
            <a:ext cx="719092" cy="5008070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</a:t>
            </a:r>
          </a:p>
          <a:p>
            <a:pPr algn="ctr"/>
            <a:r>
              <a:rPr lang="en-US"/>
              <a:t>e</a:t>
            </a:r>
          </a:p>
          <a:p>
            <a:pPr algn="ctr"/>
            <a:r>
              <a:rPr lang="en-US"/>
              <a:t>s</a:t>
            </a:r>
          </a:p>
          <a:p>
            <a:pPr algn="ctr"/>
            <a:r>
              <a:rPr lang="en-US"/>
              <a:t>s</a:t>
            </a:r>
          </a:p>
          <a:p>
            <a:pPr algn="ctr"/>
            <a:r>
              <a:rPr lang="en-US"/>
              <a:t>a</a:t>
            </a:r>
          </a:p>
          <a:p>
            <a:pPr algn="ctr"/>
            <a:r>
              <a:rPr lang="en-US"/>
              <a:t>g</a:t>
            </a:r>
          </a:p>
          <a:p>
            <a:pPr algn="ctr"/>
            <a:r>
              <a:rPr lang="en-US"/>
              <a:t>e</a:t>
            </a:r>
          </a:p>
          <a:p>
            <a:pPr algn="ctr"/>
            <a:endParaRPr lang="en-US"/>
          </a:p>
          <a:p>
            <a:pPr algn="ctr"/>
            <a:r>
              <a:rPr lang="en-US"/>
              <a:t>B</a:t>
            </a:r>
          </a:p>
          <a:p>
            <a:pPr algn="ctr"/>
            <a:r>
              <a:rPr lang="en-US"/>
              <a:t>r</a:t>
            </a:r>
          </a:p>
          <a:p>
            <a:pPr algn="ctr"/>
            <a:r>
              <a:rPr lang="en-US"/>
              <a:t>o</a:t>
            </a:r>
          </a:p>
          <a:p>
            <a:pPr algn="ctr"/>
            <a:r>
              <a:rPr lang="en-US"/>
              <a:t>k</a:t>
            </a:r>
          </a:p>
          <a:p>
            <a:pPr algn="ctr"/>
            <a:r>
              <a:rPr lang="en-US"/>
              <a:t>e</a:t>
            </a:r>
          </a:p>
          <a:p>
            <a:pPr algn="ctr"/>
            <a:r>
              <a:rPr lang="en-US"/>
              <a:t>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25A5556-01CD-EF13-1FF3-9DE583B4022C}"/>
              </a:ext>
            </a:extLst>
          </p:cNvPr>
          <p:cNvSpPr/>
          <p:nvPr/>
        </p:nvSpPr>
        <p:spPr>
          <a:xfrm>
            <a:off x="7928298" y="1305257"/>
            <a:ext cx="1907465" cy="5043140"/>
          </a:xfrm>
          <a:prstGeom prst="rect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029A1D3-0649-BAD0-A205-64BEB996D7C5}"/>
              </a:ext>
            </a:extLst>
          </p:cNvPr>
          <p:cNvSpPr/>
          <p:nvPr/>
        </p:nvSpPr>
        <p:spPr>
          <a:xfrm>
            <a:off x="8064926" y="1388756"/>
            <a:ext cx="1623720" cy="514328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Authoriz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610D6E4-DE8A-98F1-AA5C-D7ECAF61B188}"/>
              </a:ext>
            </a:extLst>
          </p:cNvPr>
          <p:cNvSpPr/>
          <p:nvPr/>
        </p:nvSpPr>
        <p:spPr>
          <a:xfrm>
            <a:off x="8064926" y="1993981"/>
            <a:ext cx="1623720" cy="514328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Logg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8CB9164-0972-510B-5F48-7D712C518C06}"/>
              </a:ext>
            </a:extLst>
          </p:cNvPr>
          <p:cNvSpPr/>
          <p:nvPr/>
        </p:nvSpPr>
        <p:spPr>
          <a:xfrm>
            <a:off x="8078852" y="2603450"/>
            <a:ext cx="1623720" cy="514328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Audit Generator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D4A2DE5-E26C-2EA1-CD0F-9CF4F5DD2F8F}"/>
              </a:ext>
            </a:extLst>
          </p:cNvPr>
          <p:cNvSpPr/>
          <p:nvPr/>
        </p:nvSpPr>
        <p:spPr>
          <a:xfrm>
            <a:off x="8097446" y="3209707"/>
            <a:ext cx="1623720" cy="514328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Exception Handling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458CDE3-B3FF-574E-7449-1625C076FAD6}"/>
              </a:ext>
            </a:extLst>
          </p:cNvPr>
          <p:cNvSpPr/>
          <p:nvPr/>
        </p:nvSpPr>
        <p:spPr>
          <a:xfrm>
            <a:off x="8094694" y="3818920"/>
            <a:ext cx="1593952" cy="812811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Pub/Sub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274AD75-DA92-34A8-CFC5-2968AC9B0FA3}"/>
              </a:ext>
            </a:extLst>
          </p:cNvPr>
          <p:cNvSpPr/>
          <p:nvPr/>
        </p:nvSpPr>
        <p:spPr>
          <a:xfrm>
            <a:off x="8093736" y="4727219"/>
            <a:ext cx="1593952" cy="7025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Domain Model Base Class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B696D4B-4F76-D204-DE6F-693C5872DA3A}"/>
              </a:ext>
            </a:extLst>
          </p:cNvPr>
          <p:cNvSpPr txBox="1"/>
          <p:nvPr/>
        </p:nvSpPr>
        <p:spPr>
          <a:xfrm>
            <a:off x="7937937" y="1081660"/>
            <a:ext cx="19074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Cross cutting concerns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F4E93F77-72E1-ECA1-0D14-70198B360280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flipV="1">
            <a:off x="2369620" y="1552505"/>
            <a:ext cx="1249530" cy="2810336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1333C38F-BD06-5E1C-A3E1-0DA79B77F808}"/>
              </a:ext>
            </a:extLst>
          </p:cNvPr>
          <p:cNvCxnSpPr>
            <a:cxnSpLocks/>
            <a:stCxn id="9" idx="3"/>
            <a:endCxn id="17" idx="1"/>
          </p:cNvCxnSpPr>
          <p:nvPr/>
        </p:nvCxnSpPr>
        <p:spPr>
          <a:xfrm flipV="1">
            <a:off x="2369620" y="2087500"/>
            <a:ext cx="1249530" cy="2275341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81594FF-56F9-BD24-ED98-19752F364A5F}"/>
              </a:ext>
            </a:extLst>
          </p:cNvPr>
          <p:cNvCxnSpPr>
            <a:cxnSpLocks/>
            <a:stCxn id="9" idx="3"/>
            <a:endCxn id="20" idx="1"/>
          </p:cNvCxnSpPr>
          <p:nvPr/>
        </p:nvCxnSpPr>
        <p:spPr>
          <a:xfrm flipV="1">
            <a:off x="2369620" y="2630662"/>
            <a:ext cx="1249530" cy="1732179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C51A2453-194C-146E-8C45-27199B1D8C2F}"/>
              </a:ext>
            </a:extLst>
          </p:cNvPr>
          <p:cNvCxnSpPr>
            <a:cxnSpLocks/>
            <a:stCxn id="9" idx="3"/>
            <a:endCxn id="23" idx="1"/>
          </p:cNvCxnSpPr>
          <p:nvPr/>
        </p:nvCxnSpPr>
        <p:spPr>
          <a:xfrm flipV="1">
            <a:off x="2369620" y="3175750"/>
            <a:ext cx="1249530" cy="1187091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D785DFA3-BDFF-EC62-CFBE-62E52CAF6F2D}"/>
              </a:ext>
            </a:extLst>
          </p:cNvPr>
          <p:cNvCxnSpPr>
            <a:cxnSpLocks/>
            <a:stCxn id="9" idx="3"/>
            <a:endCxn id="26" idx="1"/>
          </p:cNvCxnSpPr>
          <p:nvPr/>
        </p:nvCxnSpPr>
        <p:spPr>
          <a:xfrm flipV="1">
            <a:off x="2369620" y="4315083"/>
            <a:ext cx="1249530" cy="47758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50D036E7-1779-5637-C4C5-12AD4369993A}"/>
              </a:ext>
            </a:extLst>
          </p:cNvPr>
          <p:cNvCxnSpPr>
            <a:cxnSpLocks/>
            <a:stCxn id="9" idx="3"/>
            <a:endCxn id="62" idx="1"/>
          </p:cNvCxnSpPr>
          <p:nvPr/>
        </p:nvCxnSpPr>
        <p:spPr>
          <a:xfrm>
            <a:off x="2369620" y="4362841"/>
            <a:ext cx="1241990" cy="570786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A9CBB79-91C3-0A57-AD36-7DDAEBAADE85}"/>
              </a:ext>
            </a:extLst>
          </p:cNvPr>
          <p:cNvCxnSpPr>
            <a:cxnSpLocks/>
            <a:stCxn id="9" idx="3"/>
            <a:endCxn id="64" idx="1"/>
          </p:cNvCxnSpPr>
          <p:nvPr/>
        </p:nvCxnSpPr>
        <p:spPr>
          <a:xfrm>
            <a:off x="2369620" y="4362841"/>
            <a:ext cx="1241990" cy="1146524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E797ECEF-7880-268E-AC1C-E70FBA592B2C}"/>
              </a:ext>
            </a:extLst>
          </p:cNvPr>
          <p:cNvCxnSpPr>
            <a:cxnSpLocks/>
            <a:stCxn id="9" idx="3"/>
            <a:endCxn id="65" idx="1"/>
          </p:cNvCxnSpPr>
          <p:nvPr/>
        </p:nvCxnSpPr>
        <p:spPr>
          <a:xfrm>
            <a:off x="2369620" y="4362841"/>
            <a:ext cx="1235366" cy="176248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BCFB54BA-14CF-69FE-05AB-7718798864CB}"/>
              </a:ext>
            </a:extLst>
          </p:cNvPr>
          <p:cNvSpPr/>
          <p:nvPr/>
        </p:nvSpPr>
        <p:spPr>
          <a:xfrm>
            <a:off x="1624184" y="1232510"/>
            <a:ext cx="1400901" cy="93169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Icertis AAD +</a:t>
            </a:r>
          </a:p>
          <a:p>
            <a:pPr algn="ctr"/>
            <a:r>
              <a:rPr lang="en-US" sz="1400"/>
              <a:t> AAD B2C (For partners)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B2D2CC8-71A1-AD37-19D4-BFDCDE01982C}"/>
              </a:ext>
            </a:extLst>
          </p:cNvPr>
          <p:cNvCxnSpPr>
            <a:endCxn id="9" idx="0"/>
          </p:cNvCxnSpPr>
          <p:nvPr/>
        </p:nvCxnSpPr>
        <p:spPr>
          <a:xfrm>
            <a:off x="2004154" y="2164203"/>
            <a:ext cx="5920" cy="250641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C216EC3F-D60A-49E3-80CD-33B94A9CE595}"/>
              </a:ext>
            </a:extLst>
          </p:cNvPr>
          <p:cNvSpPr/>
          <p:nvPr/>
        </p:nvSpPr>
        <p:spPr>
          <a:xfrm>
            <a:off x="3592400" y="3498954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Build &amp; Deploy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C8923FA-FA75-F50F-C246-1F7912807BB3}"/>
              </a:ext>
            </a:extLst>
          </p:cNvPr>
          <p:cNvSpPr/>
          <p:nvPr/>
        </p:nvSpPr>
        <p:spPr>
          <a:xfrm>
            <a:off x="3611610" y="4710555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MDB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4E9B1D2-225D-FE7E-1BF8-1C01521C1930}"/>
              </a:ext>
            </a:extLst>
          </p:cNvPr>
          <p:cNvSpPr/>
          <p:nvPr/>
        </p:nvSpPr>
        <p:spPr>
          <a:xfrm>
            <a:off x="3611610" y="5286293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udi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99C4AA7-0136-B42F-F5D7-80FE1D897C80}"/>
              </a:ext>
            </a:extLst>
          </p:cNvPr>
          <p:cNvSpPr/>
          <p:nvPr/>
        </p:nvSpPr>
        <p:spPr>
          <a:xfrm>
            <a:off x="3604986" y="5902254"/>
            <a:ext cx="2158014" cy="4461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Notification</a:t>
            </a:r>
          </a:p>
        </p:txBody>
      </p:sp>
      <p:sp>
        <p:nvSpPr>
          <p:cNvPr id="89" name="Flowchart: Magnetic Disk 88">
            <a:extLst>
              <a:ext uri="{FF2B5EF4-FFF2-40B4-BE49-F238E27FC236}">
                <a16:creationId xmlns:a16="http://schemas.microsoft.com/office/drawing/2014/main" id="{7391D8D8-DC94-E989-E088-7629A27C73DA}"/>
              </a:ext>
            </a:extLst>
          </p:cNvPr>
          <p:cNvSpPr/>
          <p:nvPr/>
        </p:nvSpPr>
        <p:spPr>
          <a:xfrm>
            <a:off x="5990472" y="2414844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51A934A-CF79-79DC-270F-5891D1C1CE28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5777164" y="2630662"/>
            <a:ext cx="224064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Flowchart: Magnetic Disk 93">
            <a:extLst>
              <a:ext uri="{FF2B5EF4-FFF2-40B4-BE49-F238E27FC236}">
                <a16:creationId xmlns:a16="http://schemas.microsoft.com/office/drawing/2014/main" id="{2AF52F3E-AB1B-080B-8F29-7956EA9F7C34}"/>
              </a:ext>
            </a:extLst>
          </p:cNvPr>
          <p:cNvSpPr/>
          <p:nvPr/>
        </p:nvSpPr>
        <p:spPr>
          <a:xfrm>
            <a:off x="5991950" y="2975617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3C227BA-7951-E758-B469-4EEC34DA798B}"/>
              </a:ext>
            </a:extLst>
          </p:cNvPr>
          <p:cNvCxnSpPr>
            <a:cxnSpLocks/>
          </p:cNvCxnSpPr>
          <p:nvPr/>
        </p:nvCxnSpPr>
        <p:spPr>
          <a:xfrm>
            <a:off x="5778642" y="3191435"/>
            <a:ext cx="224064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Flowchart: Magnetic Disk 95">
            <a:extLst>
              <a:ext uri="{FF2B5EF4-FFF2-40B4-BE49-F238E27FC236}">
                <a16:creationId xmlns:a16="http://schemas.microsoft.com/office/drawing/2014/main" id="{9486FC43-A9C0-2588-1688-2DF784496CA8}"/>
              </a:ext>
            </a:extLst>
          </p:cNvPr>
          <p:cNvSpPr/>
          <p:nvPr/>
        </p:nvSpPr>
        <p:spPr>
          <a:xfrm>
            <a:off x="5975672" y="3492000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6B08833B-0A1D-A802-046D-0E69B5A902FB}"/>
              </a:ext>
            </a:extLst>
          </p:cNvPr>
          <p:cNvCxnSpPr>
            <a:cxnSpLocks/>
          </p:cNvCxnSpPr>
          <p:nvPr/>
        </p:nvCxnSpPr>
        <p:spPr>
          <a:xfrm>
            <a:off x="5762364" y="3707818"/>
            <a:ext cx="224064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Flowchart: Magnetic Disk 97">
            <a:extLst>
              <a:ext uri="{FF2B5EF4-FFF2-40B4-BE49-F238E27FC236}">
                <a16:creationId xmlns:a16="http://schemas.microsoft.com/office/drawing/2014/main" id="{FC2C053E-873B-0459-4BFE-DC00E194EAE8}"/>
              </a:ext>
            </a:extLst>
          </p:cNvPr>
          <p:cNvSpPr/>
          <p:nvPr/>
        </p:nvSpPr>
        <p:spPr>
          <a:xfrm>
            <a:off x="5959396" y="4114915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26028DDC-E1D3-D16F-9E68-E9099FD0D044}"/>
              </a:ext>
            </a:extLst>
          </p:cNvPr>
          <p:cNvCxnSpPr>
            <a:cxnSpLocks/>
          </p:cNvCxnSpPr>
          <p:nvPr/>
        </p:nvCxnSpPr>
        <p:spPr>
          <a:xfrm>
            <a:off x="5746088" y="4330733"/>
            <a:ext cx="224064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Flowchart: Magnetic Disk 99">
            <a:extLst>
              <a:ext uri="{FF2B5EF4-FFF2-40B4-BE49-F238E27FC236}">
                <a16:creationId xmlns:a16="http://schemas.microsoft.com/office/drawing/2014/main" id="{7BCE14E8-75B6-AEE2-F39B-7D3EC1EA79DF}"/>
              </a:ext>
            </a:extLst>
          </p:cNvPr>
          <p:cNvSpPr/>
          <p:nvPr/>
        </p:nvSpPr>
        <p:spPr>
          <a:xfrm>
            <a:off x="5960873" y="4711200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6637E7E1-06C4-FF33-2AC5-5A38496BD4ED}"/>
              </a:ext>
            </a:extLst>
          </p:cNvPr>
          <p:cNvCxnSpPr>
            <a:cxnSpLocks/>
          </p:cNvCxnSpPr>
          <p:nvPr/>
        </p:nvCxnSpPr>
        <p:spPr>
          <a:xfrm>
            <a:off x="5747565" y="4927018"/>
            <a:ext cx="224064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Flowchart: Magnetic Disk 101">
            <a:extLst>
              <a:ext uri="{FF2B5EF4-FFF2-40B4-BE49-F238E27FC236}">
                <a16:creationId xmlns:a16="http://schemas.microsoft.com/office/drawing/2014/main" id="{15D1FCDE-7D66-664F-20A1-D2D872BF8B50}"/>
              </a:ext>
            </a:extLst>
          </p:cNvPr>
          <p:cNvSpPr/>
          <p:nvPr/>
        </p:nvSpPr>
        <p:spPr>
          <a:xfrm>
            <a:off x="5971231" y="5280849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206057E6-7BD5-FDF8-FD61-75E67D6E1077}"/>
              </a:ext>
            </a:extLst>
          </p:cNvPr>
          <p:cNvCxnSpPr>
            <a:cxnSpLocks/>
          </p:cNvCxnSpPr>
          <p:nvPr/>
        </p:nvCxnSpPr>
        <p:spPr>
          <a:xfrm>
            <a:off x="5757923" y="5496667"/>
            <a:ext cx="224064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Flowchart: Magnetic Disk 103">
            <a:extLst>
              <a:ext uri="{FF2B5EF4-FFF2-40B4-BE49-F238E27FC236}">
                <a16:creationId xmlns:a16="http://schemas.microsoft.com/office/drawing/2014/main" id="{C08AB36D-C80D-B522-1C16-16A31C9956C7}"/>
              </a:ext>
            </a:extLst>
          </p:cNvPr>
          <p:cNvSpPr/>
          <p:nvPr/>
        </p:nvSpPr>
        <p:spPr>
          <a:xfrm>
            <a:off x="5954954" y="5894888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F8972C93-B675-41C1-749E-EDF2CBB9540A}"/>
              </a:ext>
            </a:extLst>
          </p:cNvPr>
          <p:cNvCxnSpPr>
            <a:cxnSpLocks/>
          </p:cNvCxnSpPr>
          <p:nvPr/>
        </p:nvCxnSpPr>
        <p:spPr>
          <a:xfrm>
            <a:off x="5741646" y="6110706"/>
            <a:ext cx="224064" cy="0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4F0E2B74-5DE8-E343-F16B-3DD62354429F}"/>
              </a:ext>
            </a:extLst>
          </p:cNvPr>
          <p:cNvCxnSpPr>
            <a:cxnSpLocks/>
            <a:endCxn id="61" idx="1"/>
          </p:cNvCxnSpPr>
          <p:nvPr/>
        </p:nvCxnSpPr>
        <p:spPr>
          <a:xfrm flipV="1">
            <a:off x="2375570" y="3722026"/>
            <a:ext cx="1216830" cy="640814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34EFA93-A267-0BE4-BC4A-1D9479C8FDE2}"/>
              </a:ext>
            </a:extLst>
          </p:cNvPr>
          <p:cNvSpPr/>
          <p:nvPr/>
        </p:nvSpPr>
        <p:spPr>
          <a:xfrm>
            <a:off x="8078852" y="5543616"/>
            <a:ext cx="1593952" cy="702543"/>
          </a:xfrm>
          <a:prstGeom prst="rect">
            <a:avLst/>
          </a:prstGeom>
          <a:solidFill>
            <a:srgbClr val="692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Concurrency Handl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CFC683-F809-0F7D-B9F5-5EA8A79D38B7}"/>
              </a:ext>
            </a:extLst>
          </p:cNvPr>
          <p:cNvSpPr txBox="1"/>
          <p:nvPr/>
        </p:nvSpPr>
        <p:spPr>
          <a:xfrm>
            <a:off x="10110424" y="3209707"/>
            <a:ext cx="1876473" cy="1692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ech Sta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.NET 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Azure SQ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EF Core 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Angular 1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Azure Service B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API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AK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530A207-204A-FEDE-86F0-995D3536F420}"/>
              </a:ext>
            </a:extLst>
          </p:cNvPr>
          <p:cNvSpPr txBox="1"/>
          <p:nvPr/>
        </p:nvSpPr>
        <p:spPr>
          <a:xfrm>
            <a:off x="3638361" y="1081660"/>
            <a:ext cx="21032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Microservices</a:t>
            </a:r>
          </a:p>
        </p:txBody>
      </p:sp>
      <p:sp>
        <p:nvSpPr>
          <p:cNvPr id="68" name="Flowchart: Magnetic Disk 67">
            <a:extLst>
              <a:ext uri="{FF2B5EF4-FFF2-40B4-BE49-F238E27FC236}">
                <a16:creationId xmlns:a16="http://schemas.microsoft.com/office/drawing/2014/main" id="{829E0ABC-3EBC-604C-7630-7DA96070BBE5}"/>
              </a:ext>
            </a:extLst>
          </p:cNvPr>
          <p:cNvSpPr/>
          <p:nvPr/>
        </p:nvSpPr>
        <p:spPr>
          <a:xfrm>
            <a:off x="5998958" y="1877776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  <p:sp>
        <p:nvSpPr>
          <p:cNvPr id="70" name="Flowchart: Magnetic Disk 69">
            <a:extLst>
              <a:ext uri="{FF2B5EF4-FFF2-40B4-BE49-F238E27FC236}">
                <a16:creationId xmlns:a16="http://schemas.microsoft.com/office/drawing/2014/main" id="{7C583B8F-1DF5-A253-224A-6D8CA50231BE}"/>
              </a:ext>
            </a:extLst>
          </p:cNvPr>
          <p:cNvSpPr/>
          <p:nvPr/>
        </p:nvSpPr>
        <p:spPr>
          <a:xfrm>
            <a:off x="6006809" y="1367210"/>
            <a:ext cx="749974" cy="408254"/>
          </a:xfrm>
          <a:prstGeom prst="flowChartMagneticDisk">
            <a:avLst/>
          </a:prstGeom>
          <a:solidFill>
            <a:srgbClr val="7B2A97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QL DB</a:t>
            </a:r>
          </a:p>
        </p:txBody>
      </p:sp>
    </p:spTree>
    <p:extLst>
      <p:ext uri="{BB962C8B-B14F-4D97-AF65-F5344CB8AC3E}">
        <p14:creationId xmlns:p14="http://schemas.microsoft.com/office/powerpoint/2010/main" val="3094373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B2565A-5A1D-51F2-D5FF-5FA75AD185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14" y="60375"/>
            <a:ext cx="10332720" cy="548640"/>
          </a:xfrm>
        </p:spPr>
        <p:txBody>
          <a:bodyPr/>
          <a:lstStyle/>
          <a:p>
            <a:r>
              <a:rPr lang="en-US"/>
              <a:t>IDN Portal – Deployment Arch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10398D-1842-2C91-DBA2-58145C8371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39E440-A58D-898E-9C2D-6D6E96B05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2EA328-AE85-B7DB-55CA-74445B75F2E9}"/>
              </a:ext>
            </a:extLst>
          </p:cNvPr>
          <p:cNvSpPr/>
          <p:nvPr/>
        </p:nvSpPr>
        <p:spPr>
          <a:xfrm>
            <a:off x="5686138" y="955366"/>
            <a:ext cx="4077271" cy="286575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FB8416-899C-F680-8EA6-6E3F1224D01F}"/>
              </a:ext>
            </a:extLst>
          </p:cNvPr>
          <p:cNvSpPr/>
          <p:nvPr/>
        </p:nvSpPr>
        <p:spPr>
          <a:xfrm rot="5400000">
            <a:off x="7628075" y="3753243"/>
            <a:ext cx="867464" cy="9909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Serivce Bu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65D6E3-AFD0-E9E2-6A19-24CC2CFA2E87}"/>
              </a:ext>
            </a:extLst>
          </p:cNvPr>
          <p:cNvSpPr/>
          <p:nvPr/>
        </p:nvSpPr>
        <p:spPr>
          <a:xfrm>
            <a:off x="226819" y="736795"/>
            <a:ext cx="2536068" cy="95075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028AFF-9148-FE59-8F61-0671909B7BAD}"/>
              </a:ext>
            </a:extLst>
          </p:cNvPr>
          <p:cNvSpPr/>
          <p:nvPr/>
        </p:nvSpPr>
        <p:spPr>
          <a:xfrm>
            <a:off x="8688463" y="4924218"/>
            <a:ext cx="2357271" cy="5969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 anchorCtr="0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 ,Alerts &amp;</a:t>
            </a: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 Analytics , App insights 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B1AB2D-C89D-5AC5-8AC8-DC2B2449E055}"/>
              </a:ext>
            </a:extLst>
          </p:cNvPr>
          <p:cNvSpPr/>
          <p:nvPr/>
        </p:nvSpPr>
        <p:spPr>
          <a:xfrm>
            <a:off x="5823752" y="1117704"/>
            <a:ext cx="646620" cy="179597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IM</a:t>
            </a:r>
          </a:p>
        </p:txBody>
      </p:sp>
      <p:pic>
        <p:nvPicPr>
          <p:cNvPr id="13" name="Graphic 21">
            <a:extLst>
              <a:ext uri="{FF2B5EF4-FFF2-40B4-BE49-F238E27FC236}">
                <a16:creationId xmlns:a16="http://schemas.microsoft.com/office/drawing/2014/main" id="{98380B18-005E-CEA5-8675-B68A445C87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292" y="753608"/>
            <a:ext cx="594329" cy="56129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022288C-E628-1D07-2E4E-0518EF4FD8A4}"/>
              </a:ext>
            </a:extLst>
          </p:cNvPr>
          <p:cNvSpPr txBox="1"/>
          <p:nvPr/>
        </p:nvSpPr>
        <p:spPr>
          <a:xfrm>
            <a:off x="429600" y="1145011"/>
            <a:ext cx="987920" cy="312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AD </a:t>
            </a:r>
          </a:p>
        </p:txBody>
      </p:sp>
      <p:pic>
        <p:nvPicPr>
          <p:cNvPr id="15" name="Graphic 22">
            <a:extLst>
              <a:ext uri="{FF2B5EF4-FFF2-40B4-BE49-F238E27FC236}">
                <a16:creationId xmlns:a16="http://schemas.microsoft.com/office/drawing/2014/main" id="{8A73D4C6-3D2E-1423-7B37-05D7670620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11735" y="736795"/>
            <a:ext cx="591190" cy="54704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99A5A71-C8DC-C85C-6318-AB70E0E7654B}"/>
              </a:ext>
            </a:extLst>
          </p:cNvPr>
          <p:cNvSpPr txBox="1"/>
          <p:nvPr/>
        </p:nvSpPr>
        <p:spPr>
          <a:xfrm>
            <a:off x="1450094" y="1201115"/>
            <a:ext cx="1082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B2C  </a:t>
            </a:r>
          </a:p>
        </p:txBody>
      </p:sp>
      <p:pic>
        <p:nvPicPr>
          <p:cNvPr id="17" name="Graphic 9">
            <a:extLst>
              <a:ext uri="{FF2B5EF4-FFF2-40B4-BE49-F238E27FC236}">
                <a16:creationId xmlns:a16="http://schemas.microsoft.com/office/drawing/2014/main" id="{25B1D535-AA01-CF4E-67F0-3896450F33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65357" y="956272"/>
            <a:ext cx="706872" cy="673167"/>
          </a:xfrm>
          <a:prstGeom prst="rect">
            <a:avLst/>
          </a:prstGeom>
        </p:spPr>
      </p:pic>
      <p:pic>
        <p:nvPicPr>
          <p:cNvPr id="18" name="Graphic 23">
            <a:extLst>
              <a:ext uri="{FF2B5EF4-FFF2-40B4-BE49-F238E27FC236}">
                <a16:creationId xmlns:a16="http://schemas.microsoft.com/office/drawing/2014/main" id="{7085FB33-C177-1E2D-D166-1331171DF1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0299628" y="2822791"/>
            <a:ext cx="345977" cy="322494"/>
          </a:xfrm>
          <a:prstGeom prst="rect">
            <a:avLst/>
          </a:prstGeom>
        </p:spPr>
      </p:pic>
      <p:pic>
        <p:nvPicPr>
          <p:cNvPr id="19" name="Graphic 10">
            <a:extLst>
              <a:ext uri="{FF2B5EF4-FFF2-40B4-BE49-F238E27FC236}">
                <a16:creationId xmlns:a16="http://schemas.microsoft.com/office/drawing/2014/main" id="{584FD094-C2FB-B84B-F35B-5CF39811DE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H="1" flipV="1">
            <a:off x="6874075" y="1482549"/>
            <a:ext cx="555827" cy="512328"/>
          </a:xfrm>
          <a:prstGeom prst="rect">
            <a:avLst/>
          </a:prstGeom>
        </p:spPr>
      </p:pic>
      <p:pic>
        <p:nvPicPr>
          <p:cNvPr id="20" name="Graphic 4">
            <a:extLst>
              <a:ext uri="{FF2B5EF4-FFF2-40B4-BE49-F238E27FC236}">
                <a16:creationId xmlns:a16="http://schemas.microsoft.com/office/drawing/2014/main" id="{147A3F11-982B-EC94-FEF5-F3A647DAB1D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556792" y="4925154"/>
            <a:ext cx="484563" cy="34784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5118F18-AB4C-9720-814F-A53AED4118B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06718" y="4137998"/>
            <a:ext cx="536203" cy="54203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72EB869-FD99-0FD2-BE6B-2C82CF2EC192}"/>
              </a:ext>
            </a:extLst>
          </p:cNvPr>
          <p:cNvSpPr/>
          <p:nvPr/>
        </p:nvSpPr>
        <p:spPr>
          <a:xfrm>
            <a:off x="3978535" y="3439551"/>
            <a:ext cx="1512005" cy="6429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Bl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c hosting S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Other files    </a:t>
            </a:r>
          </a:p>
        </p:txBody>
      </p:sp>
      <p:pic>
        <p:nvPicPr>
          <p:cNvPr id="23" name="Graphic 12">
            <a:extLst>
              <a:ext uri="{FF2B5EF4-FFF2-40B4-BE49-F238E27FC236}">
                <a16:creationId xmlns:a16="http://schemas.microsoft.com/office/drawing/2014/main" id="{442CB477-F3D7-2421-DCEB-C4739985178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40973" y="2341186"/>
            <a:ext cx="629400" cy="51591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6034DA60-3F8F-CE82-CC89-66C44A078578}"/>
              </a:ext>
            </a:extLst>
          </p:cNvPr>
          <p:cNvSpPr/>
          <p:nvPr/>
        </p:nvSpPr>
        <p:spPr>
          <a:xfrm>
            <a:off x="3865218" y="804870"/>
            <a:ext cx="7425634" cy="480708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E8F332-BAA6-DDD2-2B75-DADCE997CDDD}"/>
              </a:ext>
            </a:extLst>
          </p:cNvPr>
          <p:cNvCxnSpPr>
            <a:cxnSpLocks/>
          </p:cNvCxnSpPr>
          <p:nvPr/>
        </p:nvCxnSpPr>
        <p:spPr>
          <a:xfrm flipH="1">
            <a:off x="2762868" y="3506829"/>
            <a:ext cx="2041353" cy="815614"/>
          </a:xfrm>
          <a:prstGeom prst="straightConnector1">
            <a:avLst/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D3B350FB-6590-322C-0C08-DC014EFCEB79}"/>
              </a:ext>
            </a:extLst>
          </p:cNvPr>
          <p:cNvSpPr/>
          <p:nvPr/>
        </p:nvSpPr>
        <p:spPr>
          <a:xfrm rot="16200000">
            <a:off x="3148281" y="1665310"/>
            <a:ext cx="2028685" cy="5226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( </a:t>
            </a:r>
            <a:r>
              <a:rPr lang="en-US" sz="1400" b="1">
                <a:solidFill>
                  <a:prstClr val="black"/>
                </a:solidFill>
                <a:latin typeface="Calibri" panose="020F0502020204030204"/>
              </a:rPr>
              <a:t>Primary Region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)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DCFB5B1-87C5-68CB-0BE0-58246DC400FE}"/>
              </a:ext>
            </a:extLst>
          </p:cNvPr>
          <p:cNvSpPr txBox="1"/>
          <p:nvPr/>
        </p:nvSpPr>
        <p:spPr>
          <a:xfrm>
            <a:off x="10052563" y="1590826"/>
            <a:ext cx="10259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 SQL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D8C5708-6966-68F3-C6CD-F9CFDF2E9114}"/>
              </a:ext>
            </a:extLst>
          </p:cNvPr>
          <p:cNvSpPr txBox="1"/>
          <p:nvPr/>
        </p:nvSpPr>
        <p:spPr>
          <a:xfrm>
            <a:off x="10018700" y="3211682"/>
            <a:ext cx="853529" cy="314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Vaul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156FE-046F-896D-90D9-C59EF2BD855B}"/>
              </a:ext>
            </a:extLst>
          </p:cNvPr>
          <p:cNvSpPr txBox="1"/>
          <p:nvPr/>
        </p:nvSpPr>
        <p:spPr>
          <a:xfrm>
            <a:off x="6954551" y="2060347"/>
            <a:ext cx="4676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S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64CD75-01A6-CCF6-99BF-F251F2AD14C4}"/>
              </a:ext>
            </a:extLst>
          </p:cNvPr>
          <p:cNvSpPr/>
          <p:nvPr/>
        </p:nvSpPr>
        <p:spPr>
          <a:xfrm rot="5400000">
            <a:off x="9198463" y="1623057"/>
            <a:ext cx="2682607" cy="12238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561F89F-7D2D-B43E-A831-7EBF850839AF}"/>
              </a:ext>
            </a:extLst>
          </p:cNvPr>
          <p:cNvSpPr/>
          <p:nvPr/>
        </p:nvSpPr>
        <p:spPr>
          <a:xfrm>
            <a:off x="3904174" y="5811902"/>
            <a:ext cx="2459751" cy="9687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BA65D0A-7D2D-34F4-39A8-CA7AB4E08BD9}"/>
              </a:ext>
            </a:extLst>
          </p:cNvPr>
          <p:cNvSpPr/>
          <p:nvPr/>
        </p:nvSpPr>
        <p:spPr>
          <a:xfrm>
            <a:off x="4110829" y="5837628"/>
            <a:ext cx="2105299" cy="371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ment in Azure ( </a:t>
            </a:r>
            <a:r>
              <a:rPr lang="en-US" sz="1100" b="1" noProof="0">
                <a:solidFill>
                  <a:prstClr val="black"/>
                </a:solidFill>
                <a:latin typeface="Calibri" panose="020F0502020204030204"/>
              </a:rPr>
              <a:t>Secondary </a:t>
            </a:r>
            <a:r>
              <a:rPr lang="en-US" sz="1100" b="1">
                <a:solidFill>
                  <a:prstClr val="black"/>
                </a:solidFill>
                <a:latin typeface="Calibri" panose="020F0502020204030204"/>
              </a:rPr>
              <a:t> Region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)   Active-Passive Set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2A2FAC5-C494-EC9A-74A7-D11BD75082ED}"/>
              </a:ext>
            </a:extLst>
          </p:cNvPr>
          <p:cNvCxnSpPr>
            <a:cxnSpLocks/>
            <a:endCxn id="34" idx="3"/>
          </p:cNvCxnSpPr>
          <p:nvPr/>
        </p:nvCxnSpPr>
        <p:spPr>
          <a:xfrm flipH="1">
            <a:off x="2762868" y="4508458"/>
            <a:ext cx="6164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8776938A-7C80-5429-8CB9-D740A05F4EAE}"/>
              </a:ext>
            </a:extLst>
          </p:cNvPr>
          <p:cNvSpPr/>
          <p:nvPr/>
        </p:nvSpPr>
        <p:spPr>
          <a:xfrm>
            <a:off x="1806763" y="4165427"/>
            <a:ext cx="956105" cy="68606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</a:t>
            </a: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ont do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9A79998-DD26-2134-8EA7-27F7BF09F71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7004" y="3510744"/>
            <a:ext cx="1076325" cy="98107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85EF18A0-2A60-9F88-B842-F983F9BC8B8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6709" y="5611951"/>
            <a:ext cx="757503" cy="774589"/>
          </a:xfrm>
          <a:prstGeom prst="rect">
            <a:avLst/>
          </a:prstGeom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6B2C5E1-B1D7-2E4F-7A24-9F4EAEB7C31B}"/>
              </a:ext>
            </a:extLst>
          </p:cNvPr>
          <p:cNvCxnSpPr>
            <a:stCxn id="35" idx="2"/>
            <a:endCxn id="36" idx="0"/>
          </p:cNvCxnSpPr>
          <p:nvPr/>
        </p:nvCxnSpPr>
        <p:spPr>
          <a:xfrm>
            <a:off x="765167" y="4491819"/>
            <a:ext cx="10294" cy="1120132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2BD16807-A04B-DE20-4D24-04750E8EEAA0}"/>
              </a:ext>
            </a:extLst>
          </p:cNvPr>
          <p:cNvCxnSpPr>
            <a:stCxn id="35" idx="0"/>
          </p:cNvCxnSpPr>
          <p:nvPr/>
        </p:nvCxnSpPr>
        <p:spPr>
          <a:xfrm flipV="1">
            <a:off x="765167" y="1687546"/>
            <a:ext cx="10293" cy="18231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451AC0E1-0A3C-A48F-3939-4F8160D7421E}"/>
              </a:ext>
            </a:extLst>
          </p:cNvPr>
          <p:cNvSpPr txBox="1"/>
          <p:nvPr/>
        </p:nvSpPr>
        <p:spPr>
          <a:xfrm>
            <a:off x="343799" y="6293220"/>
            <a:ext cx="987920" cy="312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</a:t>
            </a: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N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716DAECF-6FA1-155C-12AA-7AC98E080A5F}"/>
              </a:ext>
            </a:extLst>
          </p:cNvPr>
          <p:cNvCxnSpPr/>
          <p:nvPr/>
        </p:nvCxnSpPr>
        <p:spPr>
          <a:xfrm>
            <a:off x="1224501" y="4307592"/>
            <a:ext cx="5757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D5194C7E-B50C-6F08-B918-CE9E41DACFE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71951" y="3506829"/>
            <a:ext cx="466725" cy="295275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844EF964-A48F-BD22-7579-6A86C23CC489}"/>
              </a:ext>
            </a:extLst>
          </p:cNvPr>
          <p:cNvSpPr/>
          <p:nvPr/>
        </p:nvSpPr>
        <p:spPr>
          <a:xfrm>
            <a:off x="6789211" y="1123351"/>
            <a:ext cx="749424" cy="179597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D88197BA-196E-D58F-75D1-5EEAEBFAB59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276586" y="1125715"/>
            <a:ext cx="276225" cy="29527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3B167B6-F6B7-59F9-E260-E77B13E4E7D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216128" y="1117623"/>
            <a:ext cx="276225" cy="29527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74920C3-3FA9-E584-AB1F-99F54ED0FF5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792464" y="1663164"/>
            <a:ext cx="336934" cy="328511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440447A-EE69-3BAE-FD38-DC866A295F6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823752" y="3885541"/>
            <a:ext cx="628650" cy="57150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0A8E315F-D956-F29A-FB6F-AD6AE07BD2D8}"/>
              </a:ext>
            </a:extLst>
          </p:cNvPr>
          <p:cNvSpPr/>
          <p:nvPr/>
        </p:nvSpPr>
        <p:spPr>
          <a:xfrm rot="5400000">
            <a:off x="7112063" y="2308445"/>
            <a:ext cx="749424" cy="206874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24212FA0-98C3-D4D2-DFCC-0618A0B35A0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09377" y="3013670"/>
            <a:ext cx="276225" cy="29527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F4B2B3F0-F30F-D5BE-E118-03C8A747590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777951" y="1236982"/>
            <a:ext cx="351832" cy="351832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8244A436-C773-9A34-4270-70A6A5BE273E}"/>
              </a:ext>
            </a:extLst>
          </p:cNvPr>
          <p:cNvSpPr/>
          <p:nvPr/>
        </p:nvSpPr>
        <p:spPr>
          <a:xfrm>
            <a:off x="8698915" y="1168903"/>
            <a:ext cx="749424" cy="177208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CD4CDC6-487F-0B73-25D3-1C50D0016B1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77101" y="1170185"/>
            <a:ext cx="276225" cy="29527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DDCF6F33-6A54-F605-A394-B16C3F3B315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847197" y="2057726"/>
            <a:ext cx="336934" cy="328511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647D7955-FE20-8944-576D-DB72A6976B8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776883" y="2496022"/>
            <a:ext cx="336934" cy="328511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A632AECA-D88A-4C90-E797-33536CE259CF}"/>
              </a:ext>
            </a:extLst>
          </p:cNvPr>
          <p:cNvSpPr/>
          <p:nvPr/>
        </p:nvSpPr>
        <p:spPr>
          <a:xfrm>
            <a:off x="5726282" y="3825226"/>
            <a:ext cx="1532142" cy="84329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92E1EF7-4469-F1AD-E4E2-C50BF692ADD0}"/>
              </a:ext>
            </a:extLst>
          </p:cNvPr>
          <p:cNvSpPr txBox="1"/>
          <p:nvPr/>
        </p:nvSpPr>
        <p:spPr>
          <a:xfrm>
            <a:off x="5726282" y="4322443"/>
            <a:ext cx="15806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Container Registr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823F446-E045-9F8E-1BB4-19309552B8E1}"/>
              </a:ext>
            </a:extLst>
          </p:cNvPr>
          <p:cNvSpPr txBox="1"/>
          <p:nvPr/>
        </p:nvSpPr>
        <p:spPr>
          <a:xfrm>
            <a:off x="6729994" y="2945529"/>
            <a:ext cx="15806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prstClr val="black"/>
                </a:solidFill>
                <a:latin typeface="Calibri" panose="020F0502020204030204"/>
              </a:rPr>
              <a:t>Self-Hoste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200">
                <a:solidFill>
                  <a:prstClr val="black"/>
                </a:solidFill>
                <a:latin typeface="Calibri" panose="020F0502020204030204"/>
              </a:rPr>
              <a:t>Git Hub runn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00A3D51-2DA5-4898-B0A3-F10BCE73CED5}"/>
              </a:ext>
            </a:extLst>
          </p:cNvPr>
          <p:cNvCxnSpPr>
            <a:cxnSpLocks/>
          </p:cNvCxnSpPr>
          <p:nvPr/>
        </p:nvCxnSpPr>
        <p:spPr>
          <a:xfrm flipV="1">
            <a:off x="9038357" y="1489726"/>
            <a:ext cx="1193757" cy="8702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FF0387A3-0F56-C237-C56A-77FA22E9397E}"/>
              </a:ext>
            </a:extLst>
          </p:cNvPr>
          <p:cNvCxnSpPr>
            <a:stCxn id="45" idx="3"/>
            <a:endCxn id="18" idx="3"/>
          </p:cNvCxnSpPr>
          <p:nvPr/>
        </p:nvCxnSpPr>
        <p:spPr>
          <a:xfrm>
            <a:off x="9129398" y="1827420"/>
            <a:ext cx="1170230" cy="1156618"/>
          </a:xfrm>
          <a:prstGeom prst="bentConnector3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497BA076-0DE6-2D61-BA1B-10613CC49E76}"/>
              </a:ext>
            </a:extLst>
          </p:cNvPr>
          <p:cNvCxnSpPr>
            <a:cxnSpLocks/>
            <a:endCxn id="9" idx="0"/>
          </p:cNvCxnSpPr>
          <p:nvPr/>
        </p:nvCxnSpPr>
        <p:spPr>
          <a:xfrm rot="5400000">
            <a:off x="7910875" y="3011135"/>
            <a:ext cx="1883989" cy="591175"/>
          </a:xfrm>
          <a:prstGeom prst="bentConnector2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A61F1BC-7847-0A07-3FCC-A52ED482078F}"/>
              </a:ext>
            </a:extLst>
          </p:cNvPr>
          <p:cNvCxnSpPr>
            <a:cxnSpLocks/>
            <a:stCxn id="53" idx="2"/>
          </p:cNvCxnSpPr>
          <p:nvPr/>
        </p:nvCxnSpPr>
        <p:spPr>
          <a:xfrm rot="5400000">
            <a:off x="6987715" y="2081248"/>
            <a:ext cx="1214351" cy="2700921"/>
          </a:xfrm>
          <a:prstGeom prst="bentConnector2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321A3BD-1DC8-DA7A-7019-84580C53D479}"/>
              </a:ext>
            </a:extLst>
          </p:cNvPr>
          <p:cNvCxnSpPr>
            <a:cxnSpLocks/>
          </p:cNvCxnSpPr>
          <p:nvPr/>
        </p:nvCxnSpPr>
        <p:spPr>
          <a:xfrm>
            <a:off x="10353929" y="5915467"/>
            <a:ext cx="1095785" cy="0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61">
            <a:extLst>
              <a:ext uri="{FF2B5EF4-FFF2-40B4-BE49-F238E27FC236}">
                <a16:creationId xmlns:a16="http://schemas.microsoft.com/office/drawing/2014/main" id="{4FC4F92E-93BB-01B5-CF47-B59211131B6A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890289" y="6323360"/>
            <a:ext cx="990600" cy="428625"/>
          </a:xfrm>
          <a:prstGeom prst="rect">
            <a:avLst/>
          </a:prstGeom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ADFB375-B403-465F-5076-5E561D82F270}"/>
              </a:ext>
            </a:extLst>
          </p:cNvPr>
          <p:cNvSpPr/>
          <p:nvPr/>
        </p:nvSpPr>
        <p:spPr>
          <a:xfrm>
            <a:off x="6631843" y="5932774"/>
            <a:ext cx="2794139" cy="83142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/>
              <a:t>Gi</a:t>
            </a:r>
            <a:r>
              <a:rPr lang="en-US">
                <a:solidFill>
                  <a:schemeClr val="tx1"/>
                </a:solidFill>
              </a:rPr>
              <a:t>Github Entperise CI/CD </a:t>
            </a:r>
            <a:r>
              <a:rPr lang="en-US"/>
              <a:t>t 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52531DFD-F5E8-43BF-8C44-9506E904332B}"/>
              </a:ext>
            </a:extLst>
          </p:cNvPr>
          <p:cNvCxnSpPr>
            <a:cxnSpLocks/>
          </p:cNvCxnSpPr>
          <p:nvPr/>
        </p:nvCxnSpPr>
        <p:spPr>
          <a:xfrm>
            <a:off x="7428203" y="3288311"/>
            <a:ext cx="52573" cy="2724925"/>
          </a:xfrm>
          <a:prstGeom prst="straightConnector1">
            <a:avLst/>
          </a:prstGeom>
          <a:ln>
            <a:prstDash val="lg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DE0B7DC-A396-8DB8-F58D-E5D4D5018BCF}"/>
              </a:ext>
            </a:extLst>
          </p:cNvPr>
          <p:cNvSpPr txBox="1"/>
          <p:nvPr/>
        </p:nvSpPr>
        <p:spPr>
          <a:xfrm>
            <a:off x="10245092" y="5915467"/>
            <a:ext cx="17687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ivity thru Private link 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7333F6D-1619-BF1B-F475-65ED872FB64B}"/>
              </a:ext>
            </a:extLst>
          </p:cNvPr>
          <p:cNvSpPr/>
          <p:nvPr/>
        </p:nvSpPr>
        <p:spPr>
          <a:xfrm>
            <a:off x="4199227" y="6323360"/>
            <a:ext cx="1070619" cy="361539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38D8D065-D015-9209-0762-78539F8313C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053533" y="6568553"/>
            <a:ext cx="291663" cy="184521"/>
          </a:xfrm>
          <a:prstGeom prst="rect">
            <a:avLst/>
          </a:prstGeom>
        </p:spPr>
      </p:pic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32BD927D-1759-3971-A313-8A6096DB59C8}"/>
              </a:ext>
            </a:extLst>
          </p:cNvPr>
          <p:cNvCxnSpPr>
            <a:cxnSpLocks/>
            <a:endCxn id="66" idx="3"/>
          </p:cNvCxnSpPr>
          <p:nvPr/>
        </p:nvCxnSpPr>
        <p:spPr>
          <a:xfrm rot="10800000" flipV="1">
            <a:off x="5269847" y="3669204"/>
            <a:ext cx="4231307" cy="2834925"/>
          </a:xfrm>
          <a:prstGeom prst="bentConnector3">
            <a:avLst>
              <a:gd name="adj1" fmla="val -59714"/>
            </a:avLst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4173D4BC-6FC2-5E21-43E8-A1E9792EDF43}"/>
              </a:ext>
            </a:extLst>
          </p:cNvPr>
          <p:cNvSpPr txBox="1"/>
          <p:nvPr/>
        </p:nvSpPr>
        <p:spPr>
          <a:xfrm>
            <a:off x="9763409" y="6365629"/>
            <a:ext cx="2250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prstClr val="black"/>
                </a:solidFill>
                <a:latin typeface="Calibri" panose="020F0502020204030204"/>
              </a:rPr>
              <a:t>Regional VNET peering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46CC9D7-63F6-3D50-F320-0324A6EFDF5A}"/>
              </a:ext>
            </a:extLst>
          </p:cNvPr>
          <p:cNvSpPr/>
          <p:nvPr/>
        </p:nvSpPr>
        <p:spPr>
          <a:xfrm>
            <a:off x="5053533" y="255552"/>
            <a:ext cx="3111281" cy="4047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PIM VNET Deployment in External Mod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97B6BA4-00E1-460F-EEE2-FDE88DF90489}"/>
              </a:ext>
            </a:extLst>
          </p:cNvPr>
          <p:cNvSpPr txBox="1"/>
          <p:nvPr/>
        </p:nvSpPr>
        <p:spPr>
          <a:xfrm>
            <a:off x="6780094" y="3433400"/>
            <a:ext cx="15606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</a:t>
            </a:r>
            <a:r>
              <a:rPr lang="en-US" sz="1200">
                <a:solidFill>
                  <a:prstClr val="black"/>
                </a:solidFill>
                <a:latin typeface="Calibri" panose="020F0502020204030204"/>
              </a:rPr>
              <a:t>: X.X.X.X/2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242E41E-574A-9541-AD7A-BB6BD463254D}"/>
              </a:ext>
            </a:extLst>
          </p:cNvPr>
          <p:cNvSpPr txBox="1"/>
          <p:nvPr/>
        </p:nvSpPr>
        <p:spPr>
          <a:xfrm>
            <a:off x="4188391" y="6371164"/>
            <a:ext cx="11242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</a:t>
            </a:r>
            <a:r>
              <a:rPr lang="en-US" sz="1000">
                <a:solidFill>
                  <a:prstClr val="black"/>
                </a:solidFill>
                <a:latin typeface="Calibri" panose="020F0502020204030204"/>
              </a:rPr>
              <a:t>: X.X.X.X/22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96F073DA-B469-09DF-D6F7-000361CC8071}"/>
              </a:ext>
            </a:extLst>
          </p:cNvPr>
          <p:cNvCxnSpPr>
            <a:cxnSpLocks/>
          </p:cNvCxnSpPr>
          <p:nvPr/>
        </p:nvCxnSpPr>
        <p:spPr>
          <a:xfrm flipH="1" flipV="1">
            <a:off x="3285059" y="2795025"/>
            <a:ext cx="2549006" cy="12108"/>
          </a:xfrm>
          <a:prstGeom prst="straightConnector1">
            <a:avLst/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B45D2DE-05F4-6372-9A78-8719BD455DF4}"/>
              </a:ext>
            </a:extLst>
          </p:cNvPr>
          <p:cNvCxnSpPr/>
          <p:nvPr/>
        </p:nvCxnSpPr>
        <p:spPr>
          <a:xfrm>
            <a:off x="3337983" y="2054943"/>
            <a:ext cx="0" cy="44339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0C48CDE5-6F62-2D78-F724-2E98DAD9A736}"/>
              </a:ext>
            </a:extLst>
          </p:cNvPr>
          <p:cNvCxnSpPr>
            <a:cxnSpLocks/>
          </p:cNvCxnSpPr>
          <p:nvPr/>
        </p:nvCxnSpPr>
        <p:spPr>
          <a:xfrm>
            <a:off x="3337983" y="2069004"/>
            <a:ext cx="5272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EDA1EA36-CD73-4A41-2C07-BB7CA31570FC}"/>
              </a:ext>
            </a:extLst>
          </p:cNvPr>
          <p:cNvCxnSpPr>
            <a:cxnSpLocks/>
          </p:cNvCxnSpPr>
          <p:nvPr/>
        </p:nvCxnSpPr>
        <p:spPr>
          <a:xfrm>
            <a:off x="3335616" y="6488936"/>
            <a:ext cx="5645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60200A6B-2A34-C362-B91A-B1191125D76C}"/>
              </a:ext>
            </a:extLst>
          </p:cNvPr>
          <p:cNvSpPr/>
          <p:nvPr/>
        </p:nvSpPr>
        <p:spPr>
          <a:xfrm>
            <a:off x="10203706" y="2108487"/>
            <a:ext cx="646848" cy="4641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App Config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7075614-A24B-E049-0875-D648DA1C0910}"/>
              </a:ext>
            </a:extLst>
          </p:cNvPr>
          <p:cNvCxnSpPr>
            <a:cxnSpLocks/>
          </p:cNvCxnSpPr>
          <p:nvPr/>
        </p:nvCxnSpPr>
        <p:spPr>
          <a:xfrm>
            <a:off x="9347546" y="2173929"/>
            <a:ext cx="856160" cy="0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78">
            <a:extLst>
              <a:ext uri="{FF2B5EF4-FFF2-40B4-BE49-F238E27FC236}">
                <a16:creationId xmlns:a16="http://schemas.microsoft.com/office/drawing/2014/main" id="{72589A3C-8960-A0D3-0624-610DBA362D1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323011" y="3161438"/>
            <a:ext cx="361440" cy="339083"/>
          </a:xfrm>
          <a:prstGeom prst="rect">
            <a:avLst/>
          </a:prstGeom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9BC3024C-7476-561D-4004-04166CEFB22A}"/>
              </a:ext>
            </a:extLst>
          </p:cNvPr>
          <p:cNvSpPr/>
          <p:nvPr/>
        </p:nvSpPr>
        <p:spPr>
          <a:xfrm>
            <a:off x="4012111" y="4352865"/>
            <a:ext cx="1512005" cy="53876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Virus Sc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rend Micro)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282364B-800C-E6C4-329E-E2B7F249D9EA}"/>
              </a:ext>
            </a:extLst>
          </p:cNvPr>
          <p:cNvSpPr/>
          <p:nvPr/>
        </p:nvSpPr>
        <p:spPr>
          <a:xfrm>
            <a:off x="4012111" y="5060223"/>
            <a:ext cx="1888395" cy="3833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l azure storage(private)  blob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340D04FB-8B7F-36AC-3FAD-58A3F52829D0}"/>
              </a:ext>
            </a:extLst>
          </p:cNvPr>
          <p:cNvCxnSpPr>
            <a:stCxn id="22" idx="2"/>
            <a:endCxn id="80" idx="0"/>
          </p:cNvCxnSpPr>
          <p:nvPr/>
        </p:nvCxnSpPr>
        <p:spPr>
          <a:xfrm>
            <a:off x="4734538" y="4082487"/>
            <a:ext cx="33576" cy="2703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1C7544EA-B37F-5381-9912-45E070769B8E}"/>
              </a:ext>
            </a:extLst>
          </p:cNvPr>
          <p:cNvCxnSpPr>
            <a:stCxn id="80" idx="2"/>
          </p:cNvCxnSpPr>
          <p:nvPr/>
        </p:nvCxnSpPr>
        <p:spPr>
          <a:xfrm>
            <a:off x="4768114" y="4891634"/>
            <a:ext cx="36107" cy="207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40DEA3EF-5C28-FED9-44D7-32B15021C8B9}"/>
              </a:ext>
            </a:extLst>
          </p:cNvPr>
          <p:cNvSpPr/>
          <p:nvPr/>
        </p:nvSpPr>
        <p:spPr>
          <a:xfrm>
            <a:off x="8465534" y="200695"/>
            <a:ext cx="2575821" cy="3833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VNET protected by Firewall –details in network security 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7338887D-2D89-FB84-C3BD-57F507ECB23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701851" y="3168290"/>
            <a:ext cx="365792" cy="335309"/>
          </a:xfrm>
          <a:prstGeom prst="rect">
            <a:avLst/>
          </a:prstGeom>
        </p:spPr>
      </p:pic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521A6F66-B868-ED42-CD18-8A5D14C315F2}"/>
              </a:ext>
            </a:extLst>
          </p:cNvPr>
          <p:cNvCxnSpPr>
            <a:cxnSpLocks/>
          </p:cNvCxnSpPr>
          <p:nvPr/>
        </p:nvCxnSpPr>
        <p:spPr>
          <a:xfrm>
            <a:off x="7793921" y="3480533"/>
            <a:ext cx="52573" cy="2724925"/>
          </a:xfrm>
          <a:prstGeom prst="straightConnector1">
            <a:avLst/>
          </a:prstGeom>
          <a:ln>
            <a:prstDash val="lgDashDot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370EAA2A-E93B-EB6C-BF77-CEB503DE393E}"/>
              </a:ext>
            </a:extLst>
          </p:cNvPr>
          <p:cNvSpPr/>
          <p:nvPr/>
        </p:nvSpPr>
        <p:spPr>
          <a:xfrm>
            <a:off x="1051337" y="1880745"/>
            <a:ext cx="2019749" cy="12875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/>
              <a:t>*</a:t>
            </a:r>
            <a:r>
              <a:rPr lang="en-US" sz="1200"/>
              <a:t>Azure Front door is the landing point of all user requests</a:t>
            </a:r>
          </a:p>
          <a:p>
            <a:pPr algn="ctr"/>
            <a:r>
              <a:rPr lang="en-US" sz="900"/>
              <a:t>*</a:t>
            </a:r>
            <a:r>
              <a:rPr lang="en-US" sz="1200"/>
              <a:t>APIM receives traffic only from azure front door and locked for any other inbound access </a:t>
            </a:r>
          </a:p>
        </p:txBody>
      </p:sp>
    </p:spTree>
    <p:extLst>
      <p:ext uri="{BB962C8B-B14F-4D97-AF65-F5344CB8AC3E}">
        <p14:creationId xmlns:p14="http://schemas.microsoft.com/office/powerpoint/2010/main" val="2564599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artial Circle 15">
            <a:extLst>
              <a:ext uri="{FF2B5EF4-FFF2-40B4-BE49-F238E27FC236}">
                <a16:creationId xmlns:a16="http://schemas.microsoft.com/office/drawing/2014/main" id="{E39D60A2-6681-D753-F21F-3C68CA5A0EDD}"/>
              </a:ext>
            </a:extLst>
          </p:cNvPr>
          <p:cNvSpPr/>
          <p:nvPr/>
        </p:nvSpPr>
        <p:spPr>
          <a:xfrm>
            <a:off x="3908377" y="1536622"/>
            <a:ext cx="4114800" cy="4043795"/>
          </a:xfrm>
          <a:prstGeom prst="pie">
            <a:avLst>
              <a:gd name="adj1" fmla="val 16138875"/>
              <a:gd name="adj2" fmla="val 1664391"/>
            </a:avLst>
          </a:prstGeom>
          <a:solidFill>
            <a:srgbClr val="3F3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Partial Circle 12">
            <a:extLst>
              <a:ext uri="{FF2B5EF4-FFF2-40B4-BE49-F238E27FC236}">
                <a16:creationId xmlns:a16="http://schemas.microsoft.com/office/drawing/2014/main" id="{971E7383-5F9A-C1CA-A520-B7A02824FE83}"/>
              </a:ext>
            </a:extLst>
          </p:cNvPr>
          <p:cNvSpPr/>
          <p:nvPr/>
        </p:nvSpPr>
        <p:spPr>
          <a:xfrm>
            <a:off x="3886201" y="1536622"/>
            <a:ext cx="4114800" cy="4043795"/>
          </a:xfrm>
          <a:prstGeom prst="pie">
            <a:avLst>
              <a:gd name="adj1" fmla="val 9048337"/>
              <a:gd name="adj2" fmla="val 16238971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Partial Circle 11">
            <a:extLst>
              <a:ext uri="{FF2B5EF4-FFF2-40B4-BE49-F238E27FC236}">
                <a16:creationId xmlns:a16="http://schemas.microsoft.com/office/drawing/2014/main" id="{3A72E585-92E3-D4BA-926F-75F0D76BDDA5}"/>
              </a:ext>
            </a:extLst>
          </p:cNvPr>
          <p:cNvSpPr/>
          <p:nvPr/>
        </p:nvSpPr>
        <p:spPr>
          <a:xfrm>
            <a:off x="3903957" y="1700060"/>
            <a:ext cx="4114800" cy="3844848"/>
          </a:xfrm>
          <a:prstGeom prst="pie">
            <a:avLst>
              <a:gd name="adj1" fmla="val 1388115"/>
              <a:gd name="adj2" fmla="val 917381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BD2AE27-A7BE-0BB4-3837-060E9774C826}"/>
              </a:ext>
            </a:extLst>
          </p:cNvPr>
          <p:cNvSpPr/>
          <p:nvPr/>
        </p:nvSpPr>
        <p:spPr>
          <a:xfrm>
            <a:off x="4461029" y="2121760"/>
            <a:ext cx="3018407" cy="281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090069-D857-1DE8-8B27-23600FBD1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croservice Internal Architectur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CBC90B-6AD5-7262-2114-F5E5DA131E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5EA1ED-D61F-4D0F-AD1A-AD6564F8817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190FF2-7BF3-A9F3-EED6-4C706EA43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certis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B6D0CD-7B1F-842E-BFF2-2D157DE435F2}"/>
              </a:ext>
            </a:extLst>
          </p:cNvPr>
          <p:cNvSpPr txBox="1"/>
          <p:nvPr/>
        </p:nvSpPr>
        <p:spPr>
          <a:xfrm>
            <a:off x="5433136" y="2121760"/>
            <a:ext cx="1056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Domain Servic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5FA672-1B68-5F75-052F-63DACFE8BEB8}"/>
              </a:ext>
            </a:extLst>
          </p:cNvPr>
          <p:cNvSpPr txBox="1"/>
          <p:nvPr/>
        </p:nvSpPr>
        <p:spPr>
          <a:xfrm rot="18897357">
            <a:off x="3772197" y="2308832"/>
            <a:ext cx="1802167" cy="39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eb API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1EA57CC-BB31-B13F-8929-756D91FA3911}"/>
              </a:ext>
            </a:extLst>
          </p:cNvPr>
          <p:cNvSpPr txBox="1"/>
          <p:nvPr/>
        </p:nvSpPr>
        <p:spPr>
          <a:xfrm rot="3415406">
            <a:off x="6727979" y="2794847"/>
            <a:ext cx="1802167" cy="39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>
                    <a:lumMod val="95000"/>
                  </a:schemeClr>
                </a:solidFill>
              </a:rPr>
              <a:t>Pub/Sub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3541D4A-F31D-23A9-A814-9F5493820894}"/>
              </a:ext>
            </a:extLst>
          </p:cNvPr>
          <p:cNvSpPr/>
          <p:nvPr/>
        </p:nvSpPr>
        <p:spPr>
          <a:xfrm>
            <a:off x="1198280" y="2401428"/>
            <a:ext cx="1757176" cy="81674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PI Gateway</a:t>
            </a:r>
          </a:p>
        </p:txBody>
      </p:sp>
      <p:sp>
        <p:nvSpPr>
          <p:cNvPr id="21" name="Flowchart: Direct Access Storage 20">
            <a:extLst>
              <a:ext uri="{FF2B5EF4-FFF2-40B4-BE49-F238E27FC236}">
                <a16:creationId xmlns:a16="http://schemas.microsoft.com/office/drawing/2014/main" id="{27196D5B-806F-0FC9-C296-85B2E7329DC4}"/>
              </a:ext>
            </a:extLst>
          </p:cNvPr>
          <p:cNvSpPr/>
          <p:nvPr/>
        </p:nvSpPr>
        <p:spPr>
          <a:xfrm>
            <a:off x="9266951" y="2401426"/>
            <a:ext cx="2204121" cy="759055"/>
          </a:xfrm>
          <a:prstGeom prst="flowChartMagneticDru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ervice Bus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4D68E1B2-5C70-C230-D13E-EF723A8AF76F}"/>
              </a:ext>
            </a:extLst>
          </p:cNvPr>
          <p:cNvSpPr/>
          <p:nvPr/>
        </p:nvSpPr>
        <p:spPr>
          <a:xfrm>
            <a:off x="2942805" y="2643066"/>
            <a:ext cx="1113551" cy="37952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63F05C55-38B2-6ABE-F9CB-D8F42DA1E83F}"/>
              </a:ext>
            </a:extLst>
          </p:cNvPr>
          <p:cNvSpPr/>
          <p:nvPr/>
        </p:nvSpPr>
        <p:spPr>
          <a:xfrm>
            <a:off x="7884110" y="2634470"/>
            <a:ext cx="1417908" cy="37952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1593E3CE-13B7-86C9-894B-5024B3B1888F}"/>
              </a:ext>
            </a:extLst>
          </p:cNvPr>
          <p:cNvSpPr/>
          <p:nvPr/>
        </p:nvSpPr>
        <p:spPr>
          <a:xfrm rot="2352564">
            <a:off x="4718972" y="2577063"/>
            <a:ext cx="254161" cy="19768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7407A028-2091-FE35-D14A-1251A0102F8E}"/>
              </a:ext>
            </a:extLst>
          </p:cNvPr>
          <p:cNvSpPr/>
          <p:nvPr/>
        </p:nvSpPr>
        <p:spPr>
          <a:xfrm rot="8527573">
            <a:off x="7206030" y="2915080"/>
            <a:ext cx="270952" cy="18794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Partial Circle 28">
            <a:extLst>
              <a:ext uri="{FF2B5EF4-FFF2-40B4-BE49-F238E27FC236}">
                <a16:creationId xmlns:a16="http://schemas.microsoft.com/office/drawing/2014/main" id="{7DF0AF29-5DD9-2536-D16A-0394B997050A}"/>
              </a:ext>
            </a:extLst>
          </p:cNvPr>
          <p:cNvSpPr/>
          <p:nvPr/>
        </p:nvSpPr>
        <p:spPr>
          <a:xfrm>
            <a:off x="4461029" y="2005558"/>
            <a:ext cx="3018407" cy="2930424"/>
          </a:xfrm>
          <a:prstGeom prst="pie">
            <a:avLst>
              <a:gd name="adj1" fmla="val 8410"/>
              <a:gd name="adj2" fmla="val 10840146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F493561-96BB-7236-59BE-E600713CD25F}"/>
              </a:ext>
            </a:extLst>
          </p:cNvPr>
          <p:cNvSpPr/>
          <p:nvPr/>
        </p:nvSpPr>
        <p:spPr>
          <a:xfrm>
            <a:off x="5149049" y="2697477"/>
            <a:ext cx="1642369" cy="154604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omain</a:t>
            </a:r>
          </a:p>
          <a:p>
            <a:pPr algn="ctr"/>
            <a:r>
              <a:rPr lang="en-US"/>
              <a:t>Mod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6D273B-6F15-9337-7C13-0492372B35A1}"/>
              </a:ext>
            </a:extLst>
          </p:cNvPr>
          <p:cNvSpPr txBox="1"/>
          <p:nvPr/>
        </p:nvSpPr>
        <p:spPr>
          <a:xfrm>
            <a:off x="5082448" y="4360206"/>
            <a:ext cx="1802167" cy="39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Repositori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443B670-90B8-2A42-25E2-47B6799CFCEA}"/>
              </a:ext>
            </a:extLst>
          </p:cNvPr>
          <p:cNvSpPr txBox="1"/>
          <p:nvPr/>
        </p:nvSpPr>
        <p:spPr>
          <a:xfrm>
            <a:off x="5291092" y="4985632"/>
            <a:ext cx="1664561" cy="39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atabase</a:t>
            </a:r>
          </a:p>
        </p:txBody>
      </p:sp>
    </p:spTree>
    <p:extLst>
      <p:ext uri="{BB962C8B-B14F-4D97-AF65-F5344CB8AC3E}">
        <p14:creationId xmlns:p14="http://schemas.microsoft.com/office/powerpoint/2010/main" val="1967605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Icertis">
      <a:dk1>
        <a:srgbClr val="404041"/>
      </a:dk1>
      <a:lt1>
        <a:srgbClr val="FFFFFF"/>
      </a:lt1>
      <a:dk2>
        <a:srgbClr val="404041"/>
      </a:dk2>
      <a:lt2>
        <a:srgbClr val="FFFFFF"/>
      </a:lt2>
      <a:accent1>
        <a:srgbClr val="00E4BC"/>
      </a:accent1>
      <a:accent2>
        <a:srgbClr val="404041"/>
      </a:accent2>
      <a:accent3>
        <a:srgbClr val="6432A5"/>
      </a:accent3>
      <a:accent4>
        <a:srgbClr val="7A7A7C"/>
      </a:accent4>
      <a:accent5>
        <a:srgbClr val="AAAAAC"/>
      </a:accent5>
      <a:accent6>
        <a:srgbClr val="D2D2D4"/>
      </a:accent6>
      <a:hlink>
        <a:srgbClr val="6432A5"/>
      </a:hlink>
      <a:folHlink>
        <a:srgbClr val="D2D2D4"/>
      </a:folHlink>
    </a:clrScheme>
    <a:fontScheme name="Icertis">
      <a:majorFont>
        <a:latin typeface="Work Sans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certis_PPT Template .potx  -  version 8.0: 12/20/2021 9:38 AM  -  Read-Only" id="{AF699C1F-C6DA-4D47-839C-1B2D6D9757FF}" vid="{97FE8B80-6853-4216-9F0D-C9311F9830E2}"/>
    </a:ext>
  </a:extLst>
</a:theme>
</file>

<file path=ppt/theme/theme2.xml><?xml version="1.0" encoding="utf-8"?>
<a:theme xmlns:a="http://schemas.openxmlformats.org/drawingml/2006/main" name="1_Custom Design">
  <a:themeElements>
    <a:clrScheme name="Icertis">
      <a:dk1>
        <a:srgbClr val="404041"/>
      </a:dk1>
      <a:lt1>
        <a:srgbClr val="FFFFFF"/>
      </a:lt1>
      <a:dk2>
        <a:srgbClr val="404041"/>
      </a:dk2>
      <a:lt2>
        <a:srgbClr val="FFFFFF"/>
      </a:lt2>
      <a:accent1>
        <a:srgbClr val="00E4BC"/>
      </a:accent1>
      <a:accent2>
        <a:srgbClr val="404041"/>
      </a:accent2>
      <a:accent3>
        <a:srgbClr val="6432A5"/>
      </a:accent3>
      <a:accent4>
        <a:srgbClr val="7A7A7C"/>
      </a:accent4>
      <a:accent5>
        <a:srgbClr val="AAAAAC"/>
      </a:accent5>
      <a:accent6>
        <a:srgbClr val="D2D2D4"/>
      </a:accent6>
      <a:hlink>
        <a:srgbClr val="6432A5"/>
      </a:hlink>
      <a:folHlink>
        <a:srgbClr val="D2D2D4"/>
      </a:folHlink>
    </a:clrScheme>
    <a:fontScheme name="Icertis">
      <a:majorFont>
        <a:latin typeface="Work Sans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certis_PPT Template .potx  -  version 8.0: 12/20/2021 9:38 AM  -  Read-Only" id="{AF699C1F-C6DA-4D47-839C-1B2D6D9757FF}" vid="{235BA38D-2E55-48C0-A932-8F01FF674FE8}"/>
    </a:ext>
  </a:extLst>
</a:theme>
</file>

<file path=ppt/theme/theme3.xml><?xml version="1.0" encoding="utf-8"?>
<a:theme xmlns:a="http://schemas.openxmlformats.org/drawingml/2006/main" name="Custom Design">
  <a:themeElements>
    <a:clrScheme name="Icertis">
      <a:dk1>
        <a:srgbClr val="404041"/>
      </a:dk1>
      <a:lt1>
        <a:srgbClr val="FFFFFF"/>
      </a:lt1>
      <a:dk2>
        <a:srgbClr val="404041"/>
      </a:dk2>
      <a:lt2>
        <a:srgbClr val="FFFFFF"/>
      </a:lt2>
      <a:accent1>
        <a:srgbClr val="00E4BC"/>
      </a:accent1>
      <a:accent2>
        <a:srgbClr val="404041"/>
      </a:accent2>
      <a:accent3>
        <a:srgbClr val="6432A5"/>
      </a:accent3>
      <a:accent4>
        <a:srgbClr val="7A7A7C"/>
      </a:accent4>
      <a:accent5>
        <a:srgbClr val="AAAAAC"/>
      </a:accent5>
      <a:accent6>
        <a:srgbClr val="D2D2D4"/>
      </a:accent6>
      <a:hlink>
        <a:srgbClr val="6432A5"/>
      </a:hlink>
      <a:folHlink>
        <a:srgbClr val="D2D2D4"/>
      </a:folHlink>
    </a:clrScheme>
    <a:fontScheme name="Icertis">
      <a:majorFont>
        <a:latin typeface="Work Sans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certis_PPT Template" id="{B608564D-1ABE-4F1F-A61F-2446F2FC5AFC}" vid="{38BFA180-D5B4-46C1-92A6-41936C885F5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88E1F3A1996543A1F6AF7040565AE5" ma:contentTypeVersion="6" ma:contentTypeDescription="Create a new document." ma:contentTypeScope="" ma:versionID="4daa92848f5c5b59103ec7c534596485">
  <xsd:schema xmlns:xsd="http://www.w3.org/2001/XMLSchema" xmlns:xs="http://www.w3.org/2001/XMLSchema" xmlns:p="http://schemas.microsoft.com/office/2006/metadata/properties" xmlns:ns2="638abebe-a819-4ff9-a5f6-fb28ab0f4b7b" targetNamespace="http://schemas.microsoft.com/office/2006/metadata/properties" ma:root="true" ma:fieldsID="90b2546c6c9cee07708972a3e9b5297a" ns2:_="">
    <xsd:import namespace="638abebe-a819-4ff9-a5f6-fb28ab0f4b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8abebe-a819-4ff9-a5f6-fb28ab0f4b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79DF10D-95E2-4E60-B34C-7A067CBA20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4FA910-CBB2-4DE7-87B5-886A168B9783}">
  <ds:schemaRefs>
    <ds:schemaRef ds:uri="638abebe-a819-4ff9-a5f6-fb28ab0f4b7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9EDF1C4-6B15-4B1C-90DA-F11552C77EC3}">
  <ds:schemaRefs>
    <ds:schemaRef ds:uri="638abebe-a819-4ff9-a5f6-fb28ab0f4b7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certis_PPT Template </Template>
  <Application>Microsoft Office PowerPoint</Application>
  <PresentationFormat>Widescreen</PresentationFormat>
  <Slides>7</Slides>
  <Notes>1</Notes>
  <HiddenSlides>1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Custom Design</vt:lpstr>
      <vt:lpstr>1_Custom Design</vt:lpstr>
      <vt:lpstr>Custom Design</vt:lpstr>
      <vt:lpstr>Icertis Developer Network</vt:lpstr>
      <vt:lpstr>Contents</vt:lpstr>
      <vt:lpstr>Developer Journey E2E: Partner Developer to independently build extensions, niche solutions and App, Certify, and Deploy </vt:lpstr>
      <vt:lpstr>Icertis Developer Workbench (IDW)</vt:lpstr>
      <vt:lpstr>IDN Portal – Logical Architecture</vt:lpstr>
      <vt:lpstr>IDN Portal – Deployment Arch.</vt:lpstr>
      <vt:lpstr>Microservice Internal Architectur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ertis Developer Network</dc:title>
  <dc:creator>Abhishek Trivedi</dc:creator>
  <cp:revision>1</cp:revision>
  <dcterms:created xsi:type="dcterms:W3CDTF">2022-05-04T09:49:10Z</dcterms:created>
  <dcterms:modified xsi:type="dcterms:W3CDTF">2022-05-05T05:3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9-11T00:00:00Z</vt:filetime>
  </property>
  <property fmtid="{D5CDD505-2E9C-101B-9397-08002B2CF9AE}" pid="3" name="Creator">
    <vt:lpwstr>Adobe Illustrator 24.3 (Macintosh)</vt:lpwstr>
  </property>
  <property fmtid="{D5CDD505-2E9C-101B-9397-08002B2CF9AE}" pid="4" name="LastSaved">
    <vt:filetime>2020-09-11T00:00:00Z</vt:filetime>
  </property>
  <property fmtid="{D5CDD505-2E9C-101B-9397-08002B2CF9AE}" pid="5" name="ContentTypeId">
    <vt:lpwstr>0x010100BE88E1F3A1996543A1F6AF7040565AE5</vt:lpwstr>
  </property>
  <property fmtid="{D5CDD505-2E9C-101B-9397-08002B2CF9AE}" pid="6" name="Order">
    <vt:r8>364300</vt:r8>
  </property>
  <property fmtid="{D5CDD505-2E9C-101B-9397-08002B2CF9AE}" pid="7" name="xd_Signature">
    <vt:bool>false</vt:bool>
  </property>
  <property fmtid="{D5CDD505-2E9C-101B-9397-08002B2CF9AE}" pid="8" name="xd_ProgID">
    <vt:lpwstr/>
  </property>
  <property fmtid="{D5CDD505-2E9C-101B-9397-08002B2CF9AE}" pid="9" name="ComplianceAssetId">
    <vt:lpwstr/>
  </property>
  <property fmtid="{D5CDD505-2E9C-101B-9397-08002B2CF9AE}" pid="10" name="TemplateUrl">
    <vt:lpwstr/>
  </property>
  <property fmtid="{D5CDD505-2E9C-101B-9397-08002B2CF9AE}" pid="11" name="_ExtendedDescription">
    <vt:lpwstr/>
  </property>
</Properties>
</file>